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851" r:id="rId1"/>
    <p:sldMasterId id="2147483952" r:id="rId2"/>
    <p:sldMasterId id="2147483969" r:id="rId3"/>
    <p:sldMasterId id="2147483989" r:id="rId4"/>
    <p:sldMasterId id="2147484008" r:id="rId5"/>
    <p:sldMasterId id="2147484025" r:id="rId6"/>
  </p:sldMasterIdLst>
  <p:notesMasterIdLst>
    <p:notesMasterId r:id="rId15"/>
  </p:notesMasterIdLst>
  <p:sldIdLst>
    <p:sldId id="256" r:id="rId7"/>
    <p:sldId id="257" r:id="rId8"/>
    <p:sldId id="258" r:id="rId9"/>
    <p:sldId id="259" r:id="rId10"/>
    <p:sldId id="260" r:id="rId11"/>
    <p:sldId id="261" r:id="rId12"/>
    <p:sldId id="262" r:id="rId13"/>
    <p:sldId id="263" r:id="rId14"/>
  </p:sldIdLst>
  <p:sldSz cx="12192000" cy="6858000"/>
  <p:notesSz cx="6858000" cy="9144000"/>
  <p:embeddedFontLst>
    <p:embeddedFont>
      <p:font typeface="Gartner Sans" panose="020B0504030402040204" pitchFamily="34" charset="77"/>
      <p:regular r:id="rId16"/>
      <p:bold r:id="rId17"/>
      <p:italic r:id="rId18"/>
      <p:boldItalic r:id="rId19"/>
    </p:embeddedFont>
    <p:embeddedFont>
      <p:font typeface="Gartner Sans Semibold" panose="020B0504030402040204" pitchFamily="34" charset="77"/>
      <p:regular r:id="rId20"/>
      <p:bold r:id="rId21"/>
      <p:italic r:id="rId22"/>
      <p:boldItalic r:id="rId23"/>
    </p:embeddedFont>
    <p:embeddedFont>
      <p:font typeface="Lucida Sans Unicode" panose="020B0602030504020204" pitchFamily="34" charset="0"/>
      <p:regular r:id="rId24"/>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6AC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428284-E9D9-40D9-8A7F-1B357C04A00A}" v="1" dt="2026-04-20T14:41:54.47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041"/>
    <p:restoredTop sz="94658"/>
  </p:normalViewPr>
  <p:slideViewPr>
    <p:cSldViewPr snapToGrid="0" showGuides="1">
      <p:cViewPr varScale="1">
        <p:scale>
          <a:sx n="116" d="100"/>
          <a:sy n="116" d="100"/>
        </p:scale>
        <p:origin x="1024" y="176"/>
      </p:cViewPr>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font" Target="fonts/font3.fntdata"/><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font" Target="fonts/font6.fntdata"/><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font" Target="fonts/font2.fntdata"/><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font" Target="fonts/font1.fntdata"/><Relationship Id="rId20" Type="http://schemas.openxmlformats.org/officeDocument/2006/relationships/font" Target="fonts/font5.fntdata"/><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font" Target="fonts/font9.fntdata"/><Relationship Id="rId5" Type="http://schemas.openxmlformats.org/officeDocument/2006/relationships/slideMaster" Target="slideMasters/slideMaster5.xml"/><Relationship Id="rId15" Type="http://schemas.openxmlformats.org/officeDocument/2006/relationships/notesMaster" Target="notesMasters/notesMaster1.xml"/><Relationship Id="rId23" Type="http://schemas.openxmlformats.org/officeDocument/2006/relationships/font" Target="fonts/font8.fntdata"/><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font" Target="fonts/font4.fntdata"/><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font" Target="fonts/font7.fntdata"/><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gela Melone" userId="476d6350-0513-4268-8d9b-3b3806b80a25" providerId="ADAL" clId="{4D0B444E-DA4A-4D55-9809-2EA5CA97E81C}"/>
    <pc:docChg chg="modSld">
      <pc:chgData name="Angela Melone" userId="476d6350-0513-4268-8d9b-3b3806b80a25" providerId="ADAL" clId="{4D0B444E-DA4A-4D55-9809-2EA5CA97E81C}" dt="2026-04-20T14:50:48.224" v="34" actId="20577"/>
      <pc:docMkLst>
        <pc:docMk/>
      </pc:docMkLst>
      <pc:sldChg chg="modSp mod">
        <pc:chgData name="Angela Melone" userId="476d6350-0513-4268-8d9b-3b3806b80a25" providerId="ADAL" clId="{4D0B444E-DA4A-4D55-9809-2EA5CA97E81C}" dt="2026-04-20T14:47:58.978" v="7" actId="20577"/>
        <pc:sldMkLst>
          <pc:docMk/>
          <pc:sldMk cId="0" sldId="259"/>
        </pc:sldMkLst>
        <pc:spChg chg="mod">
          <ac:chgData name="Angela Melone" userId="476d6350-0513-4268-8d9b-3b3806b80a25" providerId="ADAL" clId="{4D0B444E-DA4A-4D55-9809-2EA5CA97E81C}" dt="2026-04-20T14:47:58.978" v="7" actId="20577"/>
          <ac:spMkLst>
            <pc:docMk/>
            <pc:sldMk cId="0" sldId="259"/>
            <ac:spMk id="180" creationId="{00000000-0000-0000-0000-000000000000}"/>
          </ac:spMkLst>
        </pc:spChg>
      </pc:sldChg>
      <pc:sldChg chg="modSp mod">
        <pc:chgData name="Angela Melone" userId="476d6350-0513-4268-8d9b-3b3806b80a25" providerId="ADAL" clId="{4D0B444E-DA4A-4D55-9809-2EA5CA97E81C}" dt="2026-04-20T14:47:06.370" v="6" actId="6549"/>
        <pc:sldMkLst>
          <pc:docMk/>
          <pc:sldMk cId="0" sldId="260"/>
        </pc:sldMkLst>
        <pc:graphicFrameChg chg="modGraphic">
          <ac:chgData name="Angela Melone" userId="476d6350-0513-4268-8d9b-3b3806b80a25" providerId="ADAL" clId="{4D0B444E-DA4A-4D55-9809-2EA5CA97E81C}" dt="2026-04-20T14:47:06.370" v="6" actId="6549"/>
          <ac:graphicFrameMkLst>
            <pc:docMk/>
            <pc:sldMk cId="0" sldId="260"/>
            <ac:graphicFrameMk id="186" creationId="{00000000-0000-0000-0000-000000000000}"/>
          </ac:graphicFrameMkLst>
        </pc:graphicFrameChg>
      </pc:sldChg>
      <pc:sldChg chg="modSp mod">
        <pc:chgData name="Angela Melone" userId="476d6350-0513-4268-8d9b-3b3806b80a25" providerId="ADAL" clId="{4D0B444E-DA4A-4D55-9809-2EA5CA97E81C}" dt="2026-04-20T14:48:21.306" v="8" actId="14100"/>
        <pc:sldMkLst>
          <pc:docMk/>
          <pc:sldMk cId="0" sldId="261"/>
        </pc:sldMkLst>
        <pc:spChg chg="mod">
          <ac:chgData name="Angela Melone" userId="476d6350-0513-4268-8d9b-3b3806b80a25" providerId="ADAL" clId="{4D0B444E-DA4A-4D55-9809-2EA5CA97E81C}" dt="2026-04-20T14:48:21.306" v="8" actId="14100"/>
          <ac:spMkLst>
            <pc:docMk/>
            <pc:sldMk cId="0" sldId="261"/>
            <ac:spMk id="195" creationId="{00000000-0000-0000-0000-000000000000}"/>
          </ac:spMkLst>
        </pc:spChg>
      </pc:sldChg>
      <pc:sldChg chg="modSp mod">
        <pc:chgData name="Angela Melone" userId="476d6350-0513-4268-8d9b-3b3806b80a25" providerId="ADAL" clId="{4D0B444E-DA4A-4D55-9809-2EA5CA97E81C}" dt="2026-04-20T14:50:48.224" v="34" actId="20577"/>
        <pc:sldMkLst>
          <pc:docMk/>
          <pc:sldMk cId="0" sldId="262"/>
        </pc:sldMkLst>
        <pc:spChg chg="mod">
          <ac:chgData name="Angela Melone" userId="476d6350-0513-4268-8d9b-3b3806b80a25" providerId="ADAL" clId="{4D0B444E-DA4A-4D55-9809-2EA5CA97E81C}" dt="2026-04-20T14:50:39.510" v="26" actId="20577"/>
          <ac:spMkLst>
            <pc:docMk/>
            <pc:sldMk cId="0" sldId="262"/>
            <ac:spMk id="5" creationId="{00000000-0000-0000-0000-000000000000}"/>
          </ac:spMkLst>
        </pc:spChg>
        <pc:spChg chg="mod">
          <ac:chgData name="Angela Melone" userId="476d6350-0513-4268-8d9b-3b3806b80a25" providerId="ADAL" clId="{4D0B444E-DA4A-4D55-9809-2EA5CA97E81C}" dt="2026-04-20T14:50:48.224" v="34" actId="20577"/>
          <ac:spMkLst>
            <pc:docMk/>
            <pc:sldMk cId="0" sldId="262"/>
            <ac:spMk id="12" creationId="{00000000-0000-0000-0000-000000000000}"/>
          </ac:spMkLst>
        </pc:spChg>
        <pc:spChg chg="mod">
          <ac:chgData name="Angela Melone" userId="476d6350-0513-4268-8d9b-3b3806b80a25" providerId="ADAL" clId="{4D0B444E-DA4A-4D55-9809-2EA5CA97E81C}" dt="2026-04-20T14:50:29.697" v="10" actId="20577"/>
          <ac:spMkLst>
            <pc:docMk/>
            <pc:sldMk cId="0" sldId="262"/>
            <ac:spMk id="15"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43A6DDA-4350-8C4F-A3B0-774B788553C4}" type="datetimeFigureOut">
              <a:rPr lang="en-US" smtClean="0"/>
              <a:t>4/28/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6D8885-BCE5-0A4D-86E2-224A4D38EA38}" type="slidenum">
              <a:rPr lang="en-US" smtClean="0"/>
              <a:t>‹#›</a:t>
            </a:fld>
            <a:endParaRPr lang="en-US"/>
          </a:p>
        </p:txBody>
      </p:sp>
    </p:spTree>
    <p:extLst>
      <p:ext uri="{BB962C8B-B14F-4D97-AF65-F5344CB8AC3E}">
        <p14:creationId xmlns:p14="http://schemas.microsoft.com/office/powerpoint/2010/main" val="40416398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gartner.com/document/code/792657?ref=ddisp&amp;refval=792657"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
        <p:cNvGrpSpPr/>
        <p:nvPr/>
      </p:nvGrpSpPr>
      <p:grpSpPr>
        <a:xfrm>
          <a:off x="0" y="0"/>
          <a:ext cx="0" cy="0"/>
          <a:chOff x="0" y="0"/>
          <a:chExt cx="0" cy="0"/>
        </a:xfrm>
      </p:grpSpPr>
      <p:sp>
        <p:nvSpPr>
          <p:cNvPr id="162" name="Google Shape;162;g2bf4bf76fd8_0_162:notes"/>
          <p:cNvSpPr>
            <a:spLocks noGrp="1" noRot="1" noChangeAspect="1"/>
          </p:cNvSpPr>
          <p:nvPr>
            <p:ph type="sldImg" idx="2"/>
          </p:nvPr>
        </p:nvSpPr>
        <p:spPr>
          <a:xfrm>
            <a:off x="1031875" y="712788"/>
            <a:ext cx="4794250" cy="26971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en-US"/>
          </a:p>
        </p:txBody>
      </p:sp>
      <p:sp>
        <p:nvSpPr>
          <p:cNvPr id="163" name="Google Shape;163;g2bf4bf76fd8_0_162:notes"/>
          <p:cNvSpPr txBox="1">
            <a:spLocks noGrp="1"/>
          </p:cNvSpPr>
          <p:nvPr>
            <p:ph type="body" idx="1"/>
          </p:nvPr>
        </p:nvSpPr>
        <p:spPr>
          <a:xfrm>
            <a:off x="242371" y="3592535"/>
            <a:ext cx="6373200" cy="52347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SzPts val="1400"/>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
        <p:cNvGrpSpPr/>
        <p:nvPr/>
      </p:nvGrpSpPr>
      <p:grpSpPr>
        <a:xfrm>
          <a:off x="0" y="0"/>
          <a:ext cx="0" cy="0"/>
          <a:chOff x="0" y="0"/>
          <a:chExt cx="0" cy="0"/>
        </a:xfrm>
      </p:grpSpPr>
      <p:sp>
        <p:nvSpPr>
          <p:cNvPr id="168" name="Google Shape;168;g28ee88f8467_0_207:notes"/>
          <p:cNvSpPr txBox="1">
            <a:spLocks noGrp="1"/>
          </p:cNvSpPr>
          <p:nvPr>
            <p:ph type="body" idx="1"/>
          </p:nvPr>
        </p:nvSpPr>
        <p:spPr>
          <a:xfrm>
            <a:off x="246888" y="3134806"/>
            <a:ext cx="6373500" cy="56982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SzPts val="1400"/>
              <a:buNone/>
            </a:pPr>
            <a:endParaRPr/>
          </a:p>
        </p:txBody>
      </p:sp>
      <p:sp>
        <p:nvSpPr>
          <p:cNvPr id="169" name="Google Shape;169;g28ee88f8467_0_207:notes"/>
          <p:cNvSpPr>
            <a:spLocks noGrp="1" noRot="1" noChangeAspect="1"/>
          </p:cNvSpPr>
          <p:nvPr>
            <p:ph type="sldImg" idx="2"/>
          </p:nvPr>
        </p:nvSpPr>
        <p:spPr>
          <a:xfrm>
            <a:off x="1333500" y="658813"/>
            <a:ext cx="4191000" cy="23574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g28ee88f8467_0_75:notes"/>
          <p:cNvSpPr txBox="1">
            <a:spLocks noGrp="1"/>
          </p:cNvSpPr>
          <p:nvPr>
            <p:ph type="body" idx="1"/>
          </p:nvPr>
        </p:nvSpPr>
        <p:spPr>
          <a:xfrm>
            <a:off x="246888" y="3134806"/>
            <a:ext cx="6373500" cy="56982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SzPts val="1400"/>
              <a:buNone/>
            </a:pPr>
            <a:endParaRPr/>
          </a:p>
        </p:txBody>
      </p:sp>
      <p:sp>
        <p:nvSpPr>
          <p:cNvPr id="176" name="Google Shape;176;g28ee88f8467_0_75:notes"/>
          <p:cNvSpPr>
            <a:spLocks noGrp="1" noRot="1" noChangeAspect="1"/>
          </p:cNvSpPr>
          <p:nvPr>
            <p:ph type="sldImg" idx="2"/>
          </p:nvPr>
        </p:nvSpPr>
        <p:spPr>
          <a:xfrm>
            <a:off x="1333500" y="658813"/>
            <a:ext cx="4191000" cy="23574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
        <p:cNvGrpSpPr/>
        <p:nvPr/>
      </p:nvGrpSpPr>
      <p:grpSpPr>
        <a:xfrm>
          <a:off x="0" y="0"/>
          <a:ext cx="0" cy="0"/>
          <a:chOff x="0" y="0"/>
          <a:chExt cx="0" cy="0"/>
        </a:xfrm>
      </p:grpSpPr>
      <p:sp>
        <p:nvSpPr>
          <p:cNvPr id="182" name="Google Shape;182;g28ee88f8467_0_216:notes"/>
          <p:cNvSpPr txBox="1">
            <a:spLocks noGrp="1"/>
          </p:cNvSpPr>
          <p:nvPr>
            <p:ph type="body" idx="1"/>
          </p:nvPr>
        </p:nvSpPr>
        <p:spPr>
          <a:xfrm>
            <a:off x="246888" y="3134806"/>
            <a:ext cx="6373500" cy="56982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SzPts val="1400"/>
              <a:buNone/>
            </a:pPr>
            <a:r>
              <a:rPr lang="en-US" u="sng">
                <a:solidFill>
                  <a:schemeClr val="hlink"/>
                </a:solidFill>
                <a:hlinkClick r:id="rId3"/>
              </a:rPr>
              <a:t>https://www.gartner.com/document/code/792657?ref=ddisp&amp;refval=792657</a:t>
            </a:r>
            <a:r>
              <a:rPr lang="en-US"/>
              <a:t> </a:t>
            </a:r>
            <a:endParaRPr/>
          </a:p>
        </p:txBody>
      </p:sp>
      <p:sp>
        <p:nvSpPr>
          <p:cNvPr id="183" name="Google Shape;183;g28ee88f8467_0_216:notes"/>
          <p:cNvSpPr>
            <a:spLocks noGrp="1" noRot="1" noChangeAspect="1"/>
          </p:cNvSpPr>
          <p:nvPr>
            <p:ph type="sldImg" idx="2"/>
          </p:nvPr>
        </p:nvSpPr>
        <p:spPr>
          <a:xfrm>
            <a:off x="1333500" y="658813"/>
            <a:ext cx="4191000" cy="23574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g2afca631894_1_76:notes"/>
          <p:cNvSpPr>
            <a:spLocks noGrp="1" noRot="1" noChangeAspect="1"/>
          </p:cNvSpPr>
          <p:nvPr>
            <p:ph type="sldImg" idx="2"/>
          </p:nvPr>
        </p:nvSpPr>
        <p:spPr>
          <a:xfrm>
            <a:off x="1333500" y="658813"/>
            <a:ext cx="4191000" cy="23574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en-US"/>
          </a:p>
        </p:txBody>
      </p:sp>
      <p:sp>
        <p:nvSpPr>
          <p:cNvPr id="191" name="Google Shape;191;g2afca631894_1_76:notes"/>
          <p:cNvSpPr txBox="1">
            <a:spLocks noGrp="1"/>
          </p:cNvSpPr>
          <p:nvPr>
            <p:ph type="body" idx="1"/>
          </p:nvPr>
        </p:nvSpPr>
        <p:spPr>
          <a:xfrm>
            <a:off x="246888" y="3134806"/>
            <a:ext cx="6373500" cy="56982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SzPts val="1400"/>
              <a:buNone/>
            </a:pPr>
            <a:endParaRPr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20000">
              <a:schemeClr val="bg2"/>
            </a:gs>
            <a:gs pos="100000">
              <a:schemeClr val="accent2"/>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invGray">
          <a:xfrm>
            <a:off x="1371600" y="2149713"/>
            <a:ext cx="8426918" cy="2185214"/>
          </a:xfrm>
          <a:prstGeom prst="bracketPair">
            <a:avLst>
              <a:gd name="adj" fmla="val 0"/>
            </a:avLst>
          </a:prstGeom>
          <a:ln w="101600">
            <a:solidFill>
              <a:schemeClr val="accent3"/>
            </a:solidFill>
          </a:ln>
        </p:spPr>
        <p:txBody>
          <a:bodyPr wrap="square" lIns="228600" tIns="91440" rIns="182880" bIns="731520" anchor="t" anchorCtr="0">
            <a:spAutoFit/>
          </a:bodyPr>
          <a:lstStyle>
            <a:lvl1pPr algn="l">
              <a:defRPr sz="4400"/>
            </a:lvl1pPr>
          </a:lstStyle>
          <a:p>
            <a:r>
              <a:rPr lang="en-US"/>
              <a:t>Click to Add Title; 2 Lines of Copy; 60 Characters Maximum</a:t>
            </a:r>
          </a:p>
        </p:txBody>
      </p:sp>
      <p:sp>
        <p:nvSpPr>
          <p:cNvPr id="3" name="Subtitle 2"/>
          <p:cNvSpPr>
            <a:spLocks noGrp="1"/>
          </p:cNvSpPr>
          <p:nvPr>
            <p:ph type="subTitle" idx="1" hasCustomPrompt="1"/>
          </p:nvPr>
        </p:nvSpPr>
        <p:spPr>
          <a:xfrm>
            <a:off x="1371600" y="3851940"/>
            <a:ext cx="8426919" cy="276999"/>
          </a:xfrm>
        </p:spPr>
        <p:txBody>
          <a:bodyPr wrap="square" lIns="246888" rIns="182880">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b="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685800" y="6199632"/>
            <a:ext cx="7095744" cy="323165"/>
          </a:xfrm>
          <a:prstGeom prst="rect">
            <a:avLst/>
          </a:prstGeom>
          <a:noFill/>
        </p:spPr>
        <p:txBody>
          <a:bodyPr wrap="square" lIns="0" tIns="0" rIns="0" bIns="0" rtlCol="0" anchor="b" anchorCtr="0">
            <a:spAutoFit/>
          </a:bodyPr>
          <a:lstStyle/>
          <a:p>
            <a:r>
              <a:rPr lang="en-US" sz="700" dirty="0"/>
              <a:t>© 2026 Gartner, Inc. and/or its affiliates. All rights reserved. Gartner is a registered trademark of Gartner, Inc. or its affiliates. This presentation, including all supporting materials, </a:t>
            </a:r>
            <a:br>
              <a:rPr lang="en-US" sz="700" dirty="0"/>
            </a:br>
            <a:r>
              <a:rPr lang="en-US" sz="700"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800" y="685800"/>
            <a:ext cx="1737435" cy="395448"/>
          </a:xfrm>
          <a:prstGeom prst="rect">
            <a:avLst/>
          </a:prstGeom>
        </p:spPr>
      </p:pic>
    </p:spTree>
    <p:extLst>
      <p:ext uri="{BB962C8B-B14F-4D97-AF65-F5344CB8AC3E}">
        <p14:creationId xmlns:p14="http://schemas.microsoft.com/office/powerpoint/2010/main" val="3602839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86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lvl1pPr>
              <a:defRPr b="1" i="0">
                <a:latin typeface="Gartner Sans Semibold" panose="020B0504030402040204" pitchFamily="34" charset="77"/>
              </a:defRPr>
            </a:lvl1pPr>
          </a:lstStyle>
          <a:p>
            <a:r>
              <a:rPr lang="en-US"/>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94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lvl1pPr>
              <a:defRPr b="1" i="0">
                <a:latin typeface="Gartner Sans Semibold" panose="020B0504030402040204" pitchFamily="34" charset="77"/>
              </a:defRPr>
            </a:lvl1pPr>
          </a:lstStyle>
          <a:p>
            <a:r>
              <a:rPr lang="en-US" dirty="0"/>
              <a:t>Click to edit title</a:t>
            </a:r>
          </a:p>
        </p:txBody>
      </p:sp>
      <p:sp>
        <p:nvSpPr>
          <p:cNvPr id="3" name="Content Placeholder 2"/>
          <p:cNvSpPr>
            <a:spLocks noGrp="1"/>
          </p:cNvSpPr>
          <p:nvPr>
            <p:ph sz="half" idx="1" hasCustomPrompt="1"/>
          </p:nvPr>
        </p:nvSpPr>
        <p:spPr bwMode="ltGray">
          <a:xfrm>
            <a:off x="457200" y="1527048"/>
            <a:ext cx="2600706" cy="4462272"/>
          </a:xfrm>
          <a:solidFill>
            <a:srgbClr val="E0F1FF"/>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bwMode="ltGray">
          <a:xfrm>
            <a:off x="3348482" y="1527048"/>
            <a:ext cx="2600706" cy="4462272"/>
          </a:xfrm>
          <a:solidFill>
            <a:srgbClr val="E0F1FF"/>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bwMode="ltGray">
          <a:xfrm>
            <a:off x="6239764" y="1527048"/>
            <a:ext cx="2600706" cy="4462272"/>
          </a:xfrm>
          <a:solidFill>
            <a:srgbClr val="E0F1FF"/>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bwMode="ltGray">
          <a:xfrm>
            <a:off x="9131046" y="1527048"/>
            <a:ext cx="2600706" cy="4462272"/>
          </a:xfrm>
          <a:solidFill>
            <a:srgbClr val="E0F1FF"/>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62841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E0F1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BAA7-7402-7653-A21A-2C33B981B892}"/>
              </a:ext>
            </a:extLst>
          </p:cNvPr>
          <p:cNvSpPr>
            <a:spLocks noGrp="1"/>
          </p:cNvSpPr>
          <p:nvPr>
            <p:ph type="title" hasCustomPrompt="1"/>
          </p:nvPr>
        </p:nvSpPr>
        <p:spPr bwMode="gray">
          <a:xfrm>
            <a:off x="1365814" y="1590378"/>
            <a:ext cx="5408210" cy="2031326"/>
          </a:xfrm>
          <a:prstGeom prst="bracketPair">
            <a:avLst>
              <a:gd name="adj" fmla="val 0"/>
            </a:avLst>
          </a:prstGeom>
          <a:ln w="101600">
            <a:solidFill>
              <a:schemeClr val="accent3"/>
            </a:solidFill>
          </a:ln>
        </p:spPr>
        <p:txBody>
          <a:bodyPr wrap="square" lIns="228600" rIns="182880" anchor="ctr" anchorCtr="0">
            <a:spAutoFit/>
          </a:bodyPr>
          <a:lstStyle>
            <a:lvl1pPr>
              <a:defRPr sz="4400"/>
            </a:lvl1pPr>
          </a:lstStyle>
          <a:p>
            <a:r>
              <a:rPr lang="en-US" dirty="0"/>
              <a:t>Divider Slide</a:t>
            </a:r>
            <a:br>
              <a:rPr lang="en-US" dirty="0"/>
            </a:br>
            <a:r>
              <a:rPr lang="en-US" dirty="0"/>
              <a:t>30 Characters Max.</a:t>
            </a:r>
            <a:br>
              <a:rPr lang="en-US" dirty="0"/>
            </a:br>
            <a:r>
              <a:rPr lang="en-US" dirty="0"/>
              <a:t>Lorem Ipsum</a:t>
            </a:r>
          </a:p>
        </p:txBody>
      </p:sp>
    </p:spTree>
    <p:extLst>
      <p:ext uri="{BB962C8B-B14F-4D97-AF65-F5344CB8AC3E}">
        <p14:creationId xmlns:p14="http://schemas.microsoft.com/office/powerpoint/2010/main" val="2820602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eft Rai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1F3F689-0EFE-267D-1F38-8A7BB7CF62AF}"/>
              </a:ext>
            </a:extLst>
          </p:cNvPr>
          <p:cNvSpPr/>
          <p:nvPr/>
        </p:nvSpPr>
        <p:spPr bwMode="invGray">
          <a:xfrm>
            <a:off x="-1" y="0"/>
            <a:ext cx="4050792" cy="6858000"/>
          </a:xfrm>
          <a:prstGeom prst="rect">
            <a:avLst/>
          </a:prstGeom>
          <a:gradFill>
            <a:gsLst>
              <a:gs pos="20000">
                <a:srgbClr val="002869"/>
              </a:gs>
              <a:gs pos="100000">
                <a:srgbClr val="0057AF"/>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D9D03778-9F51-35F8-9B55-7FB58E49C224}"/>
              </a:ext>
            </a:extLst>
          </p:cNvPr>
          <p:cNvSpPr>
            <a:spLocks noGrp="1"/>
          </p:cNvSpPr>
          <p:nvPr>
            <p:ph type="title"/>
          </p:nvPr>
        </p:nvSpPr>
        <p:spPr>
          <a:xfrm>
            <a:off x="457200" y="361950"/>
            <a:ext cx="3114675" cy="2051312"/>
          </a:xfrm>
        </p:spPr>
        <p:txBody>
          <a:bodyPr/>
          <a:lstStyle>
            <a:lvl1pPr>
              <a:defRPr>
                <a:solidFill>
                  <a:srgbClr val="FFFFFF"/>
                </a:solidFill>
              </a:defRPr>
            </a:lvl1pPr>
          </a:lstStyle>
          <a:p>
            <a:r>
              <a:rPr lang="en-US"/>
              <a:t>Click to edit Master title style</a:t>
            </a:r>
          </a:p>
        </p:txBody>
      </p:sp>
      <p:sp>
        <p:nvSpPr>
          <p:cNvPr id="4" name="TextBox 3">
            <a:extLst>
              <a:ext uri="{FF2B5EF4-FFF2-40B4-BE49-F238E27FC236}">
                <a16:creationId xmlns:a16="http://schemas.microsoft.com/office/drawing/2014/main" id="{64B9B515-6C0A-2DCC-BDD9-2AEDE0D6D5DB}"/>
              </a:ext>
            </a:extLst>
          </p:cNvPr>
          <p:cNvSpPr txBox="1"/>
          <p:nvPr/>
        </p:nvSpPr>
        <p:spPr>
          <a:xfrm>
            <a:off x="457200" y="6393216"/>
            <a:ext cx="3566160"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rgbClr val="FFFFFF"/>
                </a:solidFill>
              </a:rPr>
              <a:t>‹#›</a:t>
            </a:fld>
            <a:r>
              <a:rPr lang="en-US" sz="700" b="0">
                <a:solidFill>
                  <a:srgbClr val="FFFFFF"/>
                </a:solidFill>
              </a:rPr>
              <a:t>	RESTRICTED © 2026 Gartner, Inc. and/or its affiliates. All rights reserved.</a:t>
            </a:r>
          </a:p>
        </p:txBody>
      </p:sp>
      <p:sp>
        <p:nvSpPr>
          <p:cNvPr id="6" name="Content Placeholder 5">
            <a:extLst>
              <a:ext uri="{FF2B5EF4-FFF2-40B4-BE49-F238E27FC236}">
                <a16:creationId xmlns:a16="http://schemas.microsoft.com/office/drawing/2014/main" id="{D3AB07D3-66B0-EF24-E15D-D61DB03311CA}"/>
              </a:ext>
            </a:extLst>
          </p:cNvPr>
          <p:cNvSpPr>
            <a:spLocks noGrp="1"/>
          </p:cNvSpPr>
          <p:nvPr>
            <p:ph sz="quarter" idx="10"/>
          </p:nvPr>
        </p:nvSpPr>
        <p:spPr>
          <a:xfrm>
            <a:off x="4478482" y="1346200"/>
            <a:ext cx="7256318" cy="45040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7069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1C83FFE-85A9-5C0D-5033-94BE254D3694}"/>
              </a:ext>
            </a:extLst>
          </p:cNvPr>
          <p:cNvSpPr txBox="1"/>
          <p:nvPr/>
        </p:nvSpPr>
        <p:spPr bwMode="ltGray">
          <a:xfrm>
            <a:off x="457200" y="1401620"/>
            <a:ext cx="1425191" cy="1121270"/>
          </a:xfrm>
          <a:custGeom>
            <a:avLst/>
            <a:gdLst/>
            <a:ahLst/>
            <a:cxnLst/>
            <a:rect l="l" t="t" r="r" b="b"/>
            <a:pathLst>
              <a:path w="611876" h="481394">
                <a:moveTo>
                  <a:pt x="561203" y="0"/>
                </a:moveTo>
                <a:lnTo>
                  <a:pt x="611876" y="100080"/>
                </a:lnTo>
                <a:cubicBezTo>
                  <a:pt x="564581" y="124572"/>
                  <a:pt x="531433" y="149697"/>
                  <a:pt x="512430" y="175456"/>
                </a:cubicBezTo>
                <a:cubicBezTo>
                  <a:pt x="502929" y="188335"/>
                  <a:pt x="495803" y="202429"/>
                  <a:pt x="491053" y="217736"/>
                </a:cubicBezTo>
                <a:lnTo>
                  <a:pt x="489521" y="224578"/>
                </a:lnTo>
                <a:lnTo>
                  <a:pt x="492794" y="224228"/>
                </a:lnTo>
                <a:cubicBezTo>
                  <a:pt x="525732" y="224228"/>
                  <a:pt x="553813" y="236474"/>
                  <a:pt x="577038" y="260966"/>
                </a:cubicBezTo>
                <a:cubicBezTo>
                  <a:pt x="600263" y="285458"/>
                  <a:pt x="611876" y="315440"/>
                  <a:pt x="611876" y="350911"/>
                </a:cubicBezTo>
                <a:cubicBezTo>
                  <a:pt x="611876" y="387227"/>
                  <a:pt x="599841" y="418053"/>
                  <a:pt x="575772" y="443389"/>
                </a:cubicBezTo>
                <a:cubicBezTo>
                  <a:pt x="551702" y="468726"/>
                  <a:pt x="521509" y="481394"/>
                  <a:pt x="485194" y="481394"/>
                </a:cubicBezTo>
                <a:cubicBezTo>
                  <a:pt x="441277" y="481394"/>
                  <a:pt x="404328" y="464925"/>
                  <a:pt x="374346" y="431988"/>
                </a:cubicBezTo>
                <a:cubicBezTo>
                  <a:pt x="344365" y="399050"/>
                  <a:pt x="329374" y="355556"/>
                  <a:pt x="329374" y="301505"/>
                </a:cubicBezTo>
                <a:cubicBezTo>
                  <a:pt x="329374" y="230563"/>
                  <a:pt x="350699" y="169122"/>
                  <a:pt x="393349" y="117182"/>
                </a:cubicBezTo>
                <a:cubicBezTo>
                  <a:pt x="435998" y="65242"/>
                  <a:pt x="491950" y="26181"/>
                  <a:pt x="561203" y="0"/>
                </a:cubicBezTo>
                <a:close/>
                <a:moveTo>
                  <a:pt x="231829" y="0"/>
                </a:moveTo>
                <a:lnTo>
                  <a:pt x="282502" y="100080"/>
                </a:lnTo>
                <a:cubicBezTo>
                  <a:pt x="235207" y="124572"/>
                  <a:pt x="202058" y="149697"/>
                  <a:pt x="183056" y="175456"/>
                </a:cubicBezTo>
                <a:cubicBezTo>
                  <a:pt x="173555" y="188335"/>
                  <a:pt x="166429" y="202429"/>
                  <a:pt x="161678" y="217736"/>
                </a:cubicBezTo>
                <a:lnTo>
                  <a:pt x="160146" y="224578"/>
                </a:lnTo>
                <a:lnTo>
                  <a:pt x="163420" y="224228"/>
                </a:lnTo>
                <a:cubicBezTo>
                  <a:pt x="196357" y="224228"/>
                  <a:pt x="224439" y="236474"/>
                  <a:pt x="247664" y="260966"/>
                </a:cubicBezTo>
                <a:cubicBezTo>
                  <a:pt x="270889" y="285458"/>
                  <a:pt x="282501" y="315440"/>
                  <a:pt x="282502" y="350911"/>
                </a:cubicBezTo>
                <a:cubicBezTo>
                  <a:pt x="282501" y="387227"/>
                  <a:pt x="270467" y="418053"/>
                  <a:pt x="246397" y="443389"/>
                </a:cubicBezTo>
                <a:cubicBezTo>
                  <a:pt x="222327" y="468726"/>
                  <a:pt x="192135" y="481394"/>
                  <a:pt x="155819" y="481394"/>
                </a:cubicBezTo>
                <a:cubicBezTo>
                  <a:pt x="111902" y="481394"/>
                  <a:pt x="74953" y="464925"/>
                  <a:pt x="44972" y="431988"/>
                </a:cubicBezTo>
                <a:cubicBezTo>
                  <a:pt x="14990" y="399050"/>
                  <a:pt x="0" y="355556"/>
                  <a:pt x="0" y="301505"/>
                </a:cubicBezTo>
                <a:cubicBezTo>
                  <a:pt x="0" y="230563"/>
                  <a:pt x="21324" y="169122"/>
                  <a:pt x="63974" y="117182"/>
                </a:cubicBezTo>
                <a:cubicBezTo>
                  <a:pt x="106624" y="65242"/>
                  <a:pt x="162575" y="26181"/>
                  <a:pt x="231829" y="0"/>
                </a:cubicBezTo>
                <a:close/>
              </a:path>
            </a:pathLst>
          </a:custGeom>
          <a:noFill/>
          <a:ln w="25400">
            <a:solidFill>
              <a:srgbClr val="B8DEFF"/>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600"/>
              </a:spcBef>
            </a:pPr>
            <a:endParaRPr lang="en-US" sz="10000" b="1" i="0">
              <a:latin typeface="+mn-lt"/>
            </a:endParaRPr>
          </a:p>
        </p:txBody>
      </p:sp>
      <p:sp>
        <p:nvSpPr>
          <p:cNvPr id="2" name="Title 1">
            <a:extLst>
              <a:ext uri="{FF2B5EF4-FFF2-40B4-BE49-F238E27FC236}">
                <a16:creationId xmlns:a16="http://schemas.microsoft.com/office/drawing/2014/main" id="{8B478971-A225-4A64-8E00-AA9C8577611D}"/>
              </a:ext>
            </a:extLst>
          </p:cNvPr>
          <p:cNvSpPr>
            <a:spLocks noGrp="1"/>
          </p:cNvSpPr>
          <p:nvPr>
            <p:ph type="title" hasCustomPrompt="1"/>
          </p:nvPr>
        </p:nvSpPr>
        <p:spPr>
          <a:xfrm>
            <a:off x="773056" y="1009268"/>
            <a:ext cx="5718415" cy="4476115"/>
          </a:xfrm>
        </p:spPr>
        <p:txBody>
          <a:bodyPr anchor="ctr" anchorCtr="0"/>
          <a:lstStyle>
            <a:lvl1pPr marL="0" indent="0">
              <a:lnSpc>
                <a:spcPct val="100000"/>
              </a:lnSpc>
              <a:defRPr sz="2800">
                <a:latin typeface="+mj-lt"/>
              </a:defRPr>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Mauris </a:t>
            </a:r>
            <a:r>
              <a:rPr lang="en-US" err="1"/>
              <a:t>accum</a:t>
            </a:r>
            <a:r>
              <a:rPr lang="en-US"/>
              <a:t> </a:t>
            </a:r>
            <a:r>
              <a:rPr lang="en-US" err="1"/>
              <a:t>san</a:t>
            </a:r>
            <a:r>
              <a:rPr lang="en-US"/>
              <a:t> </a:t>
            </a:r>
            <a:r>
              <a:rPr lang="en-US" err="1"/>
              <a:t>urna</a:t>
            </a:r>
            <a:r>
              <a:rPr lang="en-US"/>
              <a:t>. Sus </a:t>
            </a:r>
            <a:r>
              <a:rPr lang="en-US" err="1"/>
              <a:t>pendisse</a:t>
            </a:r>
            <a:r>
              <a:rPr lang="en-US"/>
              <a:t> </a:t>
            </a:r>
            <a:r>
              <a:rPr lang="en-US" err="1"/>
              <a:t>sem</a:t>
            </a:r>
            <a:r>
              <a:rPr lang="en-US"/>
              <a:t> per semper </a:t>
            </a:r>
            <a:r>
              <a:rPr lang="en-US" err="1"/>
              <a:t>commodo</a:t>
            </a:r>
            <a:r>
              <a:rPr lang="en-US"/>
              <a:t>.”</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nvPr>
        </p:nvSpPr>
        <p:spPr>
          <a:xfrm>
            <a:off x="773056" y="5641514"/>
            <a:ext cx="5718415" cy="347472"/>
          </a:xfrm>
        </p:spPr>
        <p:txBody>
          <a:bodyPr/>
          <a:lstStyle>
            <a:lvl1pPr marL="0" indent="0">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3928" y="1346199"/>
            <a:ext cx="4690872" cy="429768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38272909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BC41137-E6C9-A053-8403-388C27EB8CE1}"/>
              </a:ext>
            </a:extLst>
          </p:cNvPr>
          <p:cNvSpPr txBox="1"/>
          <p:nvPr/>
        </p:nvSpPr>
        <p:spPr bwMode="ltGray">
          <a:xfrm>
            <a:off x="457200" y="1401620"/>
            <a:ext cx="1425191" cy="1121270"/>
          </a:xfrm>
          <a:custGeom>
            <a:avLst/>
            <a:gdLst/>
            <a:ahLst/>
            <a:cxnLst/>
            <a:rect l="l" t="t" r="r" b="b"/>
            <a:pathLst>
              <a:path w="611876" h="481394">
                <a:moveTo>
                  <a:pt x="561203" y="0"/>
                </a:moveTo>
                <a:lnTo>
                  <a:pt x="611876" y="100080"/>
                </a:lnTo>
                <a:cubicBezTo>
                  <a:pt x="564581" y="124572"/>
                  <a:pt x="531433" y="149697"/>
                  <a:pt x="512430" y="175456"/>
                </a:cubicBezTo>
                <a:cubicBezTo>
                  <a:pt x="502929" y="188335"/>
                  <a:pt x="495803" y="202429"/>
                  <a:pt x="491053" y="217736"/>
                </a:cubicBezTo>
                <a:lnTo>
                  <a:pt x="489521" y="224578"/>
                </a:lnTo>
                <a:lnTo>
                  <a:pt x="492794" y="224228"/>
                </a:lnTo>
                <a:cubicBezTo>
                  <a:pt x="525732" y="224228"/>
                  <a:pt x="553813" y="236474"/>
                  <a:pt x="577038" y="260966"/>
                </a:cubicBezTo>
                <a:cubicBezTo>
                  <a:pt x="600263" y="285458"/>
                  <a:pt x="611876" y="315440"/>
                  <a:pt x="611876" y="350911"/>
                </a:cubicBezTo>
                <a:cubicBezTo>
                  <a:pt x="611876" y="387227"/>
                  <a:pt x="599841" y="418053"/>
                  <a:pt x="575772" y="443389"/>
                </a:cubicBezTo>
                <a:cubicBezTo>
                  <a:pt x="551702" y="468726"/>
                  <a:pt x="521509" y="481394"/>
                  <a:pt x="485194" y="481394"/>
                </a:cubicBezTo>
                <a:cubicBezTo>
                  <a:pt x="441277" y="481394"/>
                  <a:pt x="404328" y="464925"/>
                  <a:pt x="374346" y="431988"/>
                </a:cubicBezTo>
                <a:cubicBezTo>
                  <a:pt x="344365" y="399050"/>
                  <a:pt x="329374" y="355556"/>
                  <a:pt x="329374" y="301505"/>
                </a:cubicBezTo>
                <a:cubicBezTo>
                  <a:pt x="329374" y="230563"/>
                  <a:pt x="350699" y="169122"/>
                  <a:pt x="393349" y="117182"/>
                </a:cubicBezTo>
                <a:cubicBezTo>
                  <a:pt x="435998" y="65242"/>
                  <a:pt x="491950" y="26181"/>
                  <a:pt x="561203" y="0"/>
                </a:cubicBezTo>
                <a:close/>
                <a:moveTo>
                  <a:pt x="231829" y="0"/>
                </a:moveTo>
                <a:lnTo>
                  <a:pt x="282502" y="100080"/>
                </a:lnTo>
                <a:cubicBezTo>
                  <a:pt x="235207" y="124572"/>
                  <a:pt x="202058" y="149697"/>
                  <a:pt x="183056" y="175456"/>
                </a:cubicBezTo>
                <a:cubicBezTo>
                  <a:pt x="173555" y="188335"/>
                  <a:pt x="166429" y="202429"/>
                  <a:pt x="161678" y="217736"/>
                </a:cubicBezTo>
                <a:lnTo>
                  <a:pt x="160146" y="224578"/>
                </a:lnTo>
                <a:lnTo>
                  <a:pt x="163420" y="224228"/>
                </a:lnTo>
                <a:cubicBezTo>
                  <a:pt x="196357" y="224228"/>
                  <a:pt x="224439" y="236474"/>
                  <a:pt x="247664" y="260966"/>
                </a:cubicBezTo>
                <a:cubicBezTo>
                  <a:pt x="270889" y="285458"/>
                  <a:pt x="282501" y="315440"/>
                  <a:pt x="282502" y="350911"/>
                </a:cubicBezTo>
                <a:cubicBezTo>
                  <a:pt x="282501" y="387227"/>
                  <a:pt x="270467" y="418053"/>
                  <a:pt x="246397" y="443389"/>
                </a:cubicBezTo>
                <a:cubicBezTo>
                  <a:pt x="222327" y="468726"/>
                  <a:pt x="192135" y="481394"/>
                  <a:pt x="155819" y="481394"/>
                </a:cubicBezTo>
                <a:cubicBezTo>
                  <a:pt x="111902" y="481394"/>
                  <a:pt x="74953" y="464925"/>
                  <a:pt x="44972" y="431988"/>
                </a:cubicBezTo>
                <a:cubicBezTo>
                  <a:pt x="14990" y="399050"/>
                  <a:pt x="0" y="355556"/>
                  <a:pt x="0" y="301505"/>
                </a:cubicBezTo>
                <a:cubicBezTo>
                  <a:pt x="0" y="230563"/>
                  <a:pt x="21324" y="169122"/>
                  <a:pt x="63974" y="117182"/>
                </a:cubicBezTo>
                <a:cubicBezTo>
                  <a:pt x="106624" y="65242"/>
                  <a:pt x="162575" y="26181"/>
                  <a:pt x="231829" y="0"/>
                </a:cubicBezTo>
                <a:close/>
              </a:path>
            </a:pathLst>
          </a:custGeom>
          <a:noFill/>
          <a:ln w="25400">
            <a:solidFill>
              <a:srgbClr val="B8DEFF"/>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600"/>
              </a:spcBef>
            </a:pPr>
            <a:endParaRPr lang="en-US" sz="10000" b="1" i="0">
              <a:latin typeface="+mn-lt"/>
            </a:endParaRPr>
          </a:p>
        </p:txBody>
      </p:sp>
      <p:sp>
        <p:nvSpPr>
          <p:cNvPr id="6" name="Title 1">
            <a:extLst>
              <a:ext uri="{FF2B5EF4-FFF2-40B4-BE49-F238E27FC236}">
                <a16:creationId xmlns:a16="http://schemas.microsoft.com/office/drawing/2014/main" id="{A5204F30-1AF4-524D-A3DC-8D6F9529A61E}"/>
              </a:ext>
            </a:extLst>
          </p:cNvPr>
          <p:cNvSpPr>
            <a:spLocks noGrp="1"/>
          </p:cNvSpPr>
          <p:nvPr>
            <p:ph type="title" hasCustomPrompt="1"/>
          </p:nvPr>
        </p:nvSpPr>
        <p:spPr>
          <a:xfrm>
            <a:off x="773054" y="995363"/>
            <a:ext cx="8086466" cy="4460875"/>
          </a:xfrm>
        </p:spPr>
        <p:txBody>
          <a:bodyPr anchor="ctr" anchorCtr="0"/>
          <a:lstStyle>
            <a:lvl1pPr marL="0" indent="0">
              <a:lnSpc>
                <a:spcPct val="100000"/>
              </a:lnSpc>
              <a:defRPr sz="28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Mauris </a:t>
            </a:r>
            <a:r>
              <a:rPr lang="en-US" err="1"/>
              <a:t>accum</a:t>
            </a:r>
            <a:r>
              <a:rPr lang="en-US"/>
              <a:t> </a:t>
            </a:r>
            <a:r>
              <a:rPr lang="en-US" err="1"/>
              <a:t>san</a:t>
            </a:r>
            <a:r>
              <a:rPr lang="en-US"/>
              <a:t> </a:t>
            </a:r>
            <a:r>
              <a:rPr lang="en-US" err="1"/>
              <a:t>urna</a:t>
            </a:r>
            <a:r>
              <a:rPr lang="en-US"/>
              <a:t>. Sus </a:t>
            </a:r>
            <a:r>
              <a:rPr lang="en-US" err="1"/>
              <a:t>pendisse</a:t>
            </a:r>
            <a:r>
              <a:rPr lang="en-US"/>
              <a:t> </a:t>
            </a:r>
            <a:r>
              <a:rPr lang="en-US" err="1"/>
              <a:t>sem</a:t>
            </a:r>
            <a:r>
              <a:rPr lang="en-US"/>
              <a:t> per semper </a:t>
            </a:r>
            <a:r>
              <a:rPr lang="en-US" err="1"/>
              <a:t>commodo</a:t>
            </a:r>
            <a:r>
              <a:rPr lang="en-US"/>
              <a:t>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nvPr>
        </p:nvSpPr>
        <p:spPr>
          <a:xfrm>
            <a:off x="773056" y="5641514"/>
            <a:ext cx="8086463" cy="347472"/>
          </a:xfrm>
        </p:spPr>
        <p:txBody>
          <a:bodyPr/>
          <a:lstStyle>
            <a:lvl1pPr marL="0" indent="0">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11573963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END">
    <p:bg>
      <p:bgPr>
        <a:solidFill>
          <a:srgbClr val="FFFF00"/>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A65764A-9DB5-E0B9-2854-737204071442}"/>
              </a:ext>
            </a:extLst>
          </p:cNvPr>
          <p:cNvSpPr txBox="1"/>
          <p:nvPr/>
        </p:nvSpPr>
        <p:spPr>
          <a:xfrm>
            <a:off x="208972" y="189623"/>
            <a:ext cx="11774056" cy="6555641"/>
          </a:xfrm>
          <a:prstGeom prst="rect">
            <a:avLst/>
          </a:prstGeom>
          <a:noFill/>
        </p:spPr>
        <p:txBody>
          <a:bodyPr wrap="none" lIns="0" rIns="0" rtlCol="0">
            <a:spAutoFit/>
          </a:bodyPr>
          <a:lstStyle/>
          <a:p>
            <a:pPr algn="ctr">
              <a:spcBef>
                <a:spcPts val="600"/>
              </a:spcBef>
            </a:pPr>
            <a:r>
              <a:rPr lang="en-US" sz="9600" dirty="0">
                <a:solidFill>
                  <a:srgbClr val="00002D"/>
                </a:solidFill>
                <a:latin typeface="+mj-lt"/>
              </a:rPr>
              <a:t>Don’t use this or any </a:t>
            </a:r>
            <a:br>
              <a:rPr lang="en-US" sz="9600" dirty="0">
                <a:solidFill>
                  <a:srgbClr val="00002D"/>
                </a:solidFill>
                <a:latin typeface="+mj-lt"/>
              </a:rPr>
            </a:br>
            <a:r>
              <a:rPr lang="en-US" sz="9600" dirty="0">
                <a:solidFill>
                  <a:srgbClr val="00002D"/>
                </a:solidFill>
                <a:latin typeface="+mj-lt"/>
              </a:rPr>
              <a:t>layouts after this.</a:t>
            </a:r>
            <a:endParaRPr lang="en-US" sz="4400" dirty="0">
              <a:solidFill>
                <a:srgbClr val="00002D"/>
              </a:solidFill>
              <a:latin typeface="+mj-lt"/>
            </a:endParaRPr>
          </a:p>
          <a:p>
            <a:pPr algn="ctr">
              <a:spcBef>
                <a:spcPts val="3600"/>
              </a:spcBef>
            </a:pPr>
            <a:r>
              <a:rPr lang="en-US" sz="6600" dirty="0">
                <a:solidFill>
                  <a:srgbClr val="00002D"/>
                </a:solidFill>
              </a:rPr>
              <a:t>Choose an appropriate </a:t>
            </a:r>
            <a:br>
              <a:rPr lang="en-US" sz="6600" dirty="0">
                <a:solidFill>
                  <a:srgbClr val="00002D"/>
                </a:solidFill>
              </a:rPr>
            </a:br>
            <a:r>
              <a:rPr lang="en-US" sz="6600" dirty="0">
                <a:solidFill>
                  <a:srgbClr val="00002D"/>
                </a:solidFill>
              </a:rPr>
              <a:t>layout from </a:t>
            </a:r>
            <a:br>
              <a:rPr lang="en-US" sz="6600" dirty="0">
                <a:solidFill>
                  <a:srgbClr val="00002D"/>
                </a:solidFill>
              </a:rPr>
            </a:br>
            <a:r>
              <a:rPr lang="en-US" sz="6600" b="1" dirty="0">
                <a:solidFill>
                  <a:srgbClr val="00002D"/>
                </a:solidFill>
              </a:rPr>
              <a:t>Home</a:t>
            </a:r>
            <a:r>
              <a:rPr lang="en-US" sz="6600" dirty="0">
                <a:solidFill>
                  <a:srgbClr val="00002D"/>
                </a:solidFill>
              </a:rPr>
              <a:t> &gt; </a:t>
            </a:r>
            <a:r>
              <a:rPr lang="en-US" sz="6600" b="1" dirty="0">
                <a:solidFill>
                  <a:srgbClr val="00002D"/>
                </a:solidFill>
              </a:rPr>
              <a:t>Layout gallery</a:t>
            </a:r>
            <a:r>
              <a:rPr lang="en-US" sz="6600" dirty="0">
                <a:solidFill>
                  <a:srgbClr val="00002D"/>
                </a:solidFill>
              </a:rPr>
              <a:t>.</a:t>
            </a:r>
          </a:p>
        </p:txBody>
      </p:sp>
      <p:sp>
        <p:nvSpPr>
          <p:cNvPr id="4" name="TextBox 3">
            <a:extLst>
              <a:ext uri="{FF2B5EF4-FFF2-40B4-BE49-F238E27FC236}">
                <a16:creationId xmlns:a16="http://schemas.microsoft.com/office/drawing/2014/main" id="{AA84E2C2-7CA7-DF36-F217-BE27B9E2B7F8}"/>
              </a:ext>
            </a:extLst>
          </p:cNvPr>
          <p:cNvSpPr txBox="1"/>
          <p:nvPr/>
        </p:nvSpPr>
        <p:spPr>
          <a:xfrm>
            <a:off x="12346930" y="835909"/>
            <a:ext cx="2668480" cy="2539157"/>
          </a:xfrm>
          <a:prstGeom prst="rect">
            <a:avLst/>
          </a:prstGeom>
          <a:noFill/>
          <a:ln>
            <a:solidFill>
              <a:srgbClr val="707996"/>
            </a:solidFill>
          </a:ln>
        </p:spPr>
        <p:txBody>
          <a:bodyPr wrap="square" lIns="91440" rIns="91440" rtlCol="0">
            <a:spAutoFit/>
          </a:bodyPr>
          <a:lstStyle/>
          <a:p>
            <a:pPr algn="l">
              <a:spcBef>
                <a:spcPts val="600"/>
              </a:spcBef>
            </a:pPr>
            <a:r>
              <a:rPr lang="en-US" sz="1400" dirty="0">
                <a:solidFill>
                  <a:srgbClr val="00002D"/>
                </a:solidFill>
              </a:rPr>
              <a:t>When pasting legacy slides that doesn’t match any of the new layouts, PowerPoint adds it to the end of the layouts and prepends the layout name with a number (</a:t>
            </a:r>
            <a:r>
              <a:rPr lang="en-US" sz="1400" dirty="0" err="1">
                <a:solidFill>
                  <a:srgbClr val="00002D"/>
                </a:solidFill>
              </a:rPr>
              <a:t>1_Title</a:t>
            </a:r>
            <a:r>
              <a:rPr lang="en-US" sz="1400" dirty="0">
                <a:solidFill>
                  <a:srgbClr val="00002D"/>
                </a:solidFill>
              </a:rPr>
              <a:t> Slide, for example). </a:t>
            </a:r>
          </a:p>
          <a:p>
            <a:pPr algn="l">
              <a:spcBef>
                <a:spcPts val="600"/>
              </a:spcBef>
            </a:pPr>
            <a:r>
              <a:rPr lang="en-US" sz="1400" dirty="0">
                <a:solidFill>
                  <a:srgbClr val="00002D"/>
                </a:solidFill>
              </a:rPr>
              <a:t>These “orphaned” layouts should not be used, instead choose from the layouts preceding this one. </a:t>
            </a:r>
          </a:p>
        </p:txBody>
      </p:sp>
    </p:spTree>
    <p:extLst>
      <p:ext uri="{BB962C8B-B14F-4D97-AF65-F5344CB8AC3E}">
        <p14:creationId xmlns:p14="http://schemas.microsoft.com/office/powerpoint/2010/main" val="14917412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20000">
              <a:schemeClr val="bg2"/>
            </a:gs>
            <a:gs pos="100000">
              <a:schemeClr val="accent2"/>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invGray">
          <a:xfrm>
            <a:off x="1371600" y="2149713"/>
            <a:ext cx="8426919" cy="2185214"/>
          </a:xfrm>
          <a:prstGeom prst="bracketPair">
            <a:avLst>
              <a:gd name="adj" fmla="val 0"/>
            </a:avLst>
          </a:prstGeom>
          <a:ln w="101600">
            <a:solidFill>
              <a:schemeClr val="accent3"/>
            </a:solidFill>
          </a:ln>
        </p:spPr>
        <p:txBody>
          <a:bodyPr lIns="228600" tIns="91440" rIns="182880" bIns="731520" anchor="t" anchorCtr="0">
            <a:spAutoFit/>
          </a:bodyPr>
          <a:lstStyle>
            <a:lvl1pPr algn="l">
              <a:defRPr sz="4400"/>
            </a:lvl1pPr>
          </a:lstStyle>
          <a:p>
            <a:r>
              <a:rPr lang="en-US"/>
              <a:t>Click to Add Title; 2 Lines of Copy; 60 Characters Maximum</a:t>
            </a:r>
          </a:p>
        </p:txBody>
      </p:sp>
      <p:sp>
        <p:nvSpPr>
          <p:cNvPr id="3" name="Subtitle 2"/>
          <p:cNvSpPr>
            <a:spLocks noGrp="1"/>
          </p:cNvSpPr>
          <p:nvPr>
            <p:ph type="subTitle" idx="1" hasCustomPrompt="1"/>
          </p:nvPr>
        </p:nvSpPr>
        <p:spPr>
          <a:xfrm>
            <a:off x="1371600" y="3851940"/>
            <a:ext cx="8426919" cy="276999"/>
          </a:xfrm>
        </p:spPr>
        <p:txBody>
          <a:bodyPr lIns="246888" rIns="182880">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685800" y="6199632"/>
            <a:ext cx="7095744" cy="323165"/>
          </a:xfrm>
          <a:prstGeom prst="rect">
            <a:avLst/>
          </a:prstGeom>
          <a:noFill/>
        </p:spPr>
        <p:txBody>
          <a:bodyPr wrap="square" lIns="0" tIns="0" rIns="0" bIns="0" rtlCol="0" anchor="b" anchorCtr="0">
            <a:spAutoFit/>
          </a:bodyPr>
          <a:lstStyle/>
          <a:p>
            <a:r>
              <a:rPr lang="en-US" sz="700"/>
              <a:t>© 2026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800" y="685800"/>
            <a:ext cx="1737435" cy="395448"/>
          </a:xfrm>
          <a:prstGeom prst="rect">
            <a:avLst/>
          </a:prstGeom>
        </p:spPr>
      </p:pic>
    </p:spTree>
    <p:extLst>
      <p:ext uri="{BB962C8B-B14F-4D97-AF65-F5344CB8AC3E}">
        <p14:creationId xmlns:p14="http://schemas.microsoft.com/office/powerpoint/2010/main" val="1637713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86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1371600" y="2149713"/>
            <a:ext cx="8426919" cy="2185214"/>
          </a:xfrm>
          <a:prstGeom prst="bracketPair">
            <a:avLst>
              <a:gd name="adj" fmla="val 0"/>
            </a:avLst>
          </a:prstGeom>
          <a:ln w="114300">
            <a:solidFill>
              <a:schemeClr val="accent3"/>
            </a:solidFill>
          </a:ln>
        </p:spPr>
        <p:txBody>
          <a:bodyPr lIns="228600" tIns="91440" rIns="182880" bIns="731520" anchor="t" anchorCtr="0">
            <a:spAutoFit/>
          </a:bodyPr>
          <a:lstStyle>
            <a:lvl1pPr algn="l">
              <a:defRPr sz="4400"/>
            </a:lvl1pPr>
          </a:lstStyle>
          <a:p>
            <a:r>
              <a:rPr lang="en-US"/>
              <a:t>Click to Add Title; 2 Lines of Copy; 60 Characters Maximum</a:t>
            </a:r>
          </a:p>
        </p:txBody>
      </p:sp>
      <p:sp>
        <p:nvSpPr>
          <p:cNvPr id="14" name="TextBox 13">
            <a:extLst>
              <a:ext uri="{FF2B5EF4-FFF2-40B4-BE49-F238E27FC236}">
                <a16:creationId xmlns:a16="http://schemas.microsoft.com/office/drawing/2014/main" id="{BB93A754-CF98-4BEB-BE89-ADF1CF77AA4F}"/>
              </a:ext>
            </a:extLst>
          </p:cNvPr>
          <p:cNvSpPr txBox="1"/>
          <p:nvPr/>
        </p:nvSpPr>
        <p:spPr>
          <a:xfrm>
            <a:off x="685800" y="6199632"/>
            <a:ext cx="7095744" cy="323165"/>
          </a:xfrm>
          <a:prstGeom prst="rect">
            <a:avLst/>
          </a:prstGeom>
          <a:noFill/>
        </p:spPr>
        <p:txBody>
          <a:bodyPr wrap="square" lIns="0" tIns="0" rIns="0" bIns="0" rtlCol="0" anchor="b" anchorCtr="0">
            <a:spAutoFit/>
          </a:bodyPr>
          <a:lstStyle/>
          <a:p>
            <a:r>
              <a:rPr lang="en-US" sz="700"/>
              <a:t>© 2026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p:nvPicPr>
        <p:blipFill>
          <a:blip r:embed="rId2">
            <a:extLst>
              <a:ext uri="{28A0092B-C50C-407E-A947-70E740481C1C}">
                <a14:useLocalDpi xmlns:a14="http://schemas.microsoft.com/office/drawing/2010/main" val="0"/>
              </a:ext>
            </a:extLst>
          </a:blip>
          <a:srcRect t="217" b="217"/>
          <a:stretch/>
        </p:blipFill>
        <p:spPr>
          <a:xfrm>
            <a:off x="685800" y="685800"/>
            <a:ext cx="1736281" cy="395448"/>
          </a:xfrm>
          <a:prstGeom prst="rect">
            <a:avLst/>
          </a:prstGeom>
        </p:spPr>
      </p:pic>
      <p:sp>
        <p:nvSpPr>
          <p:cNvPr id="3" name="Subtitle 2"/>
          <p:cNvSpPr>
            <a:spLocks noGrp="1"/>
          </p:cNvSpPr>
          <p:nvPr>
            <p:ph type="subTitle" idx="1" hasCustomPrompt="1"/>
          </p:nvPr>
        </p:nvSpPr>
        <p:spPr>
          <a:xfrm>
            <a:off x="1371600" y="3851940"/>
            <a:ext cx="8426919" cy="276999"/>
          </a:xfrm>
        </p:spPr>
        <p:txBody>
          <a:bodyPr lIns="246888" rIns="182880">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p>
        </p:txBody>
      </p:sp>
    </p:spTree>
    <p:extLst>
      <p:ext uri="{BB962C8B-B14F-4D97-AF65-F5344CB8AC3E}">
        <p14:creationId xmlns:p14="http://schemas.microsoft.com/office/powerpoint/2010/main" val="8138468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86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9728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Pr>
        <a:solidFill>
          <a:srgbClr val="E0F1F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1371600" y="2149713"/>
            <a:ext cx="8426919" cy="2185214"/>
          </a:xfrm>
          <a:prstGeom prst="bracketPair">
            <a:avLst>
              <a:gd name="adj" fmla="val 0"/>
            </a:avLst>
          </a:prstGeom>
          <a:ln w="114300">
            <a:solidFill>
              <a:schemeClr val="accent3"/>
            </a:solidFill>
          </a:ln>
        </p:spPr>
        <p:txBody>
          <a:bodyPr wrap="square" lIns="228600" tIns="91440" rIns="182880" bIns="731520" anchor="t" anchorCtr="0">
            <a:spAutoFit/>
          </a:bodyPr>
          <a:lstStyle>
            <a:lvl1pPr algn="l">
              <a:defRPr sz="4400"/>
            </a:lvl1pPr>
          </a:lstStyle>
          <a:p>
            <a:r>
              <a:rPr lang="en-US"/>
              <a:t>Click to Add Title; 2 Lines of Copy; 60 Characters Maximum</a:t>
            </a:r>
          </a:p>
        </p:txBody>
      </p:sp>
      <p:sp>
        <p:nvSpPr>
          <p:cNvPr id="14" name="TextBox 13">
            <a:extLst>
              <a:ext uri="{FF2B5EF4-FFF2-40B4-BE49-F238E27FC236}">
                <a16:creationId xmlns:a16="http://schemas.microsoft.com/office/drawing/2014/main" id="{BB93A754-CF98-4BEB-BE89-ADF1CF77AA4F}"/>
              </a:ext>
            </a:extLst>
          </p:cNvPr>
          <p:cNvSpPr txBox="1"/>
          <p:nvPr/>
        </p:nvSpPr>
        <p:spPr>
          <a:xfrm>
            <a:off x="685800" y="6199632"/>
            <a:ext cx="7095744" cy="323165"/>
          </a:xfrm>
          <a:prstGeom prst="rect">
            <a:avLst/>
          </a:prstGeom>
          <a:noFill/>
        </p:spPr>
        <p:txBody>
          <a:bodyPr wrap="square" lIns="0" tIns="0" rIns="0" bIns="0" rtlCol="0" anchor="b" anchorCtr="0">
            <a:spAutoFit/>
          </a:bodyPr>
          <a:lstStyle/>
          <a:p>
            <a:r>
              <a:rPr lang="en-US" sz="700"/>
              <a:t>© 2026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p:nvPicPr>
        <p:blipFill>
          <a:blip r:embed="rId2">
            <a:extLst>
              <a:ext uri="{28A0092B-C50C-407E-A947-70E740481C1C}">
                <a14:useLocalDpi xmlns:a14="http://schemas.microsoft.com/office/drawing/2010/main" val="0"/>
              </a:ext>
            </a:extLst>
          </a:blip>
          <a:srcRect t="226" b="226"/>
          <a:stretch/>
        </p:blipFill>
        <p:spPr>
          <a:xfrm>
            <a:off x="685800" y="685800"/>
            <a:ext cx="1736570" cy="395448"/>
          </a:xfrm>
          <a:prstGeom prst="rect">
            <a:avLst/>
          </a:prstGeom>
        </p:spPr>
      </p:pic>
      <p:sp>
        <p:nvSpPr>
          <p:cNvPr id="3" name="Subtitle 2"/>
          <p:cNvSpPr>
            <a:spLocks noGrp="1"/>
          </p:cNvSpPr>
          <p:nvPr>
            <p:ph type="subTitle" idx="1" hasCustomPrompt="1"/>
          </p:nvPr>
        </p:nvSpPr>
        <p:spPr>
          <a:xfrm>
            <a:off x="1371600" y="3851940"/>
            <a:ext cx="8426919" cy="276999"/>
          </a:xfrm>
        </p:spPr>
        <p:txBody>
          <a:bodyPr lIns="246888" rIns="182880">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p>
        </p:txBody>
      </p:sp>
    </p:spTree>
    <p:extLst>
      <p:ext uri="{BB962C8B-B14F-4D97-AF65-F5344CB8AC3E}">
        <p14:creationId xmlns:p14="http://schemas.microsoft.com/office/powerpoint/2010/main" val="1909068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86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8004700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38866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91893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47733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22648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bwMode="ltGray">
          <a:xfrm>
            <a:off x="457200" y="1527048"/>
            <a:ext cx="3337560" cy="4462272"/>
          </a:xfrm>
          <a:solidFill>
            <a:srgbClr val="1A3E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bwMode="ltGray">
          <a:xfrm>
            <a:off x="4425696" y="1527048"/>
            <a:ext cx="3337560" cy="4462272"/>
          </a:xfrm>
          <a:solidFill>
            <a:srgbClr val="1A3E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bwMode="ltGray">
          <a:xfrm>
            <a:off x="8394192" y="1527048"/>
            <a:ext cx="3337560" cy="4462272"/>
          </a:xfrm>
          <a:solidFill>
            <a:srgbClr val="1A3E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66444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56179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bwMode="ltGray">
          <a:xfrm>
            <a:off x="457200" y="1527048"/>
            <a:ext cx="2600706" cy="4462272"/>
          </a:xfrm>
          <a:solidFill>
            <a:srgbClr val="1A3E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bwMode="ltGray">
          <a:xfrm>
            <a:off x="3348482" y="1527048"/>
            <a:ext cx="2600706" cy="4462272"/>
          </a:xfrm>
          <a:solidFill>
            <a:srgbClr val="1A3E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bwMode="ltGray">
          <a:xfrm>
            <a:off x="6239764" y="1527048"/>
            <a:ext cx="2600706" cy="4462272"/>
          </a:xfrm>
          <a:solidFill>
            <a:srgbClr val="1A3E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bwMode="ltGray">
          <a:xfrm>
            <a:off x="9131046" y="1527048"/>
            <a:ext cx="2600706" cy="4462272"/>
          </a:xfrm>
          <a:solidFill>
            <a:srgbClr val="1A3E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86495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BAA7-7402-7653-A21A-2C33B981B892}"/>
              </a:ext>
            </a:extLst>
          </p:cNvPr>
          <p:cNvSpPr>
            <a:spLocks noGrp="1"/>
          </p:cNvSpPr>
          <p:nvPr>
            <p:ph type="title" hasCustomPrompt="1"/>
          </p:nvPr>
        </p:nvSpPr>
        <p:spPr bwMode="gray">
          <a:xfrm>
            <a:off x="1365814" y="1590378"/>
            <a:ext cx="5408210" cy="2031326"/>
          </a:xfrm>
          <a:prstGeom prst="bracketPair">
            <a:avLst>
              <a:gd name="adj" fmla="val 0"/>
            </a:avLst>
          </a:prstGeom>
          <a:ln w="101600">
            <a:solidFill>
              <a:schemeClr val="accent3"/>
            </a:solidFill>
          </a:ln>
        </p:spPr>
        <p:txBody>
          <a:bodyPr wrap="square" lIns="228600" rIns="182880" anchor="ctr" anchorCtr="0">
            <a:spAutoFit/>
          </a:bodyPr>
          <a:lstStyle>
            <a:lvl1pPr>
              <a:defRPr sz="4400"/>
            </a:lvl1pPr>
          </a:lstStyle>
          <a:p>
            <a:r>
              <a:rPr lang="en-US"/>
              <a:t>Divider Slide</a:t>
            </a:r>
            <a:br>
              <a:rPr lang="en-US"/>
            </a:br>
            <a:r>
              <a:rPr lang="en-US"/>
              <a:t>30 Characters Max.</a:t>
            </a:r>
            <a:br>
              <a:rPr lang="en-US"/>
            </a:br>
            <a:r>
              <a:rPr lang="en-US"/>
              <a:t>Lorem Ipsum</a:t>
            </a:r>
          </a:p>
        </p:txBody>
      </p:sp>
    </p:spTree>
    <p:extLst>
      <p:ext uri="{BB962C8B-B14F-4D97-AF65-F5344CB8AC3E}">
        <p14:creationId xmlns:p14="http://schemas.microsoft.com/office/powerpoint/2010/main" val="18322287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eft Rai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1F3F689-0EFE-267D-1F38-8A7BB7CF62AF}"/>
              </a:ext>
            </a:extLst>
          </p:cNvPr>
          <p:cNvSpPr/>
          <p:nvPr/>
        </p:nvSpPr>
        <p:spPr bwMode="invGray">
          <a:xfrm>
            <a:off x="-1" y="0"/>
            <a:ext cx="4050792" cy="6858000"/>
          </a:xfrm>
          <a:prstGeom prst="rect">
            <a:avLst/>
          </a:prstGeom>
          <a:gradFill>
            <a:gsLst>
              <a:gs pos="0">
                <a:schemeClr val="accent2"/>
              </a:gs>
              <a:gs pos="80000">
                <a:schemeClr val="accent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D9D03778-9F51-35F8-9B55-7FB58E49C224}"/>
              </a:ext>
            </a:extLst>
          </p:cNvPr>
          <p:cNvSpPr>
            <a:spLocks noGrp="1"/>
          </p:cNvSpPr>
          <p:nvPr>
            <p:ph type="title"/>
          </p:nvPr>
        </p:nvSpPr>
        <p:spPr>
          <a:xfrm>
            <a:off x="457200" y="361950"/>
            <a:ext cx="3114675" cy="2051312"/>
          </a:xfrm>
        </p:spPr>
        <p:txBody>
          <a:bodyPr/>
          <a:lstStyle>
            <a:lvl1pPr>
              <a:defRPr>
                <a:solidFill>
                  <a:srgbClr val="FFFFFF"/>
                </a:solidFill>
              </a:defRPr>
            </a:lvl1pPr>
          </a:lstStyle>
          <a:p>
            <a:r>
              <a:rPr lang="en-US"/>
              <a:t>Click to edit Master title style</a:t>
            </a:r>
          </a:p>
        </p:txBody>
      </p:sp>
      <p:sp>
        <p:nvSpPr>
          <p:cNvPr id="4" name="TextBox 3">
            <a:extLst>
              <a:ext uri="{FF2B5EF4-FFF2-40B4-BE49-F238E27FC236}">
                <a16:creationId xmlns:a16="http://schemas.microsoft.com/office/drawing/2014/main" id="{64B9B515-6C0A-2DCC-BDD9-2AEDE0D6D5DB}"/>
              </a:ext>
            </a:extLst>
          </p:cNvPr>
          <p:cNvSpPr txBox="1"/>
          <p:nvPr/>
        </p:nvSpPr>
        <p:spPr>
          <a:xfrm>
            <a:off x="457200" y="6393216"/>
            <a:ext cx="3566160"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rgbClr val="FFFFFF"/>
                </a:solidFill>
              </a:rPr>
              <a:t>‹#›</a:t>
            </a:fld>
            <a:r>
              <a:rPr lang="en-US" sz="700" b="0">
                <a:solidFill>
                  <a:srgbClr val="FFFFFF"/>
                </a:solidFill>
              </a:rPr>
              <a:t>	RESTRICTED © 2026 Gartner, Inc. and/or its affiliates. All rights reserved.</a:t>
            </a:r>
          </a:p>
        </p:txBody>
      </p:sp>
      <p:sp>
        <p:nvSpPr>
          <p:cNvPr id="6" name="Content Placeholder 5">
            <a:extLst>
              <a:ext uri="{FF2B5EF4-FFF2-40B4-BE49-F238E27FC236}">
                <a16:creationId xmlns:a16="http://schemas.microsoft.com/office/drawing/2014/main" id="{D3AB07D3-66B0-EF24-E15D-D61DB03311CA}"/>
              </a:ext>
            </a:extLst>
          </p:cNvPr>
          <p:cNvSpPr>
            <a:spLocks noGrp="1"/>
          </p:cNvSpPr>
          <p:nvPr>
            <p:ph sz="quarter" idx="10"/>
          </p:nvPr>
        </p:nvSpPr>
        <p:spPr>
          <a:xfrm>
            <a:off x="4478482" y="1346200"/>
            <a:ext cx="7256318" cy="45040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06354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27896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1C83FFE-85A9-5C0D-5033-94BE254D3694}"/>
              </a:ext>
            </a:extLst>
          </p:cNvPr>
          <p:cNvSpPr txBox="1"/>
          <p:nvPr/>
        </p:nvSpPr>
        <p:spPr bwMode="ltGray">
          <a:xfrm>
            <a:off x="457200" y="1401620"/>
            <a:ext cx="1425191" cy="1121270"/>
          </a:xfrm>
          <a:custGeom>
            <a:avLst/>
            <a:gdLst/>
            <a:ahLst/>
            <a:cxnLst/>
            <a:rect l="l" t="t" r="r" b="b"/>
            <a:pathLst>
              <a:path w="611876" h="481394">
                <a:moveTo>
                  <a:pt x="561203" y="0"/>
                </a:moveTo>
                <a:lnTo>
                  <a:pt x="611876" y="100080"/>
                </a:lnTo>
                <a:cubicBezTo>
                  <a:pt x="564581" y="124572"/>
                  <a:pt x="531433" y="149697"/>
                  <a:pt x="512430" y="175456"/>
                </a:cubicBezTo>
                <a:cubicBezTo>
                  <a:pt x="502929" y="188335"/>
                  <a:pt x="495803" y="202429"/>
                  <a:pt x="491053" y="217736"/>
                </a:cubicBezTo>
                <a:lnTo>
                  <a:pt x="489521" y="224578"/>
                </a:lnTo>
                <a:lnTo>
                  <a:pt x="492794" y="224228"/>
                </a:lnTo>
                <a:cubicBezTo>
                  <a:pt x="525732" y="224228"/>
                  <a:pt x="553813" y="236474"/>
                  <a:pt x="577038" y="260966"/>
                </a:cubicBezTo>
                <a:cubicBezTo>
                  <a:pt x="600263" y="285458"/>
                  <a:pt x="611876" y="315440"/>
                  <a:pt x="611876" y="350911"/>
                </a:cubicBezTo>
                <a:cubicBezTo>
                  <a:pt x="611876" y="387227"/>
                  <a:pt x="599841" y="418053"/>
                  <a:pt x="575772" y="443389"/>
                </a:cubicBezTo>
                <a:cubicBezTo>
                  <a:pt x="551702" y="468726"/>
                  <a:pt x="521509" y="481394"/>
                  <a:pt x="485194" y="481394"/>
                </a:cubicBezTo>
                <a:cubicBezTo>
                  <a:pt x="441277" y="481394"/>
                  <a:pt x="404328" y="464925"/>
                  <a:pt x="374346" y="431988"/>
                </a:cubicBezTo>
                <a:cubicBezTo>
                  <a:pt x="344365" y="399050"/>
                  <a:pt x="329374" y="355556"/>
                  <a:pt x="329374" y="301505"/>
                </a:cubicBezTo>
                <a:cubicBezTo>
                  <a:pt x="329374" y="230563"/>
                  <a:pt x="350699" y="169122"/>
                  <a:pt x="393349" y="117182"/>
                </a:cubicBezTo>
                <a:cubicBezTo>
                  <a:pt x="435998" y="65242"/>
                  <a:pt x="491950" y="26181"/>
                  <a:pt x="561203" y="0"/>
                </a:cubicBezTo>
                <a:close/>
                <a:moveTo>
                  <a:pt x="231829" y="0"/>
                </a:moveTo>
                <a:lnTo>
                  <a:pt x="282502" y="100080"/>
                </a:lnTo>
                <a:cubicBezTo>
                  <a:pt x="235207" y="124572"/>
                  <a:pt x="202058" y="149697"/>
                  <a:pt x="183056" y="175456"/>
                </a:cubicBezTo>
                <a:cubicBezTo>
                  <a:pt x="173555" y="188335"/>
                  <a:pt x="166429" y="202429"/>
                  <a:pt x="161678" y="217736"/>
                </a:cubicBezTo>
                <a:lnTo>
                  <a:pt x="160146" y="224578"/>
                </a:lnTo>
                <a:lnTo>
                  <a:pt x="163420" y="224228"/>
                </a:lnTo>
                <a:cubicBezTo>
                  <a:pt x="196357" y="224228"/>
                  <a:pt x="224439" y="236474"/>
                  <a:pt x="247664" y="260966"/>
                </a:cubicBezTo>
                <a:cubicBezTo>
                  <a:pt x="270889" y="285458"/>
                  <a:pt x="282501" y="315440"/>
                  <a:pt x="282502" y="350911"/>
                </a:cubicBezTo>
                <a:cubicBezTo>
                  <a:pt x="282501" y="387227"/>
                  <a:pt x="270467" y="418053"/>
                  <a:pt x="246397" y="443389"/>
                </a:cubicBezTo>
                <a:cubicBezTo>
                  <a:pt x="222327" y="468726"/>
                  <a:pt x="192135" y="481394"/>
                  <a:pt x="155819" y="481394"/>
                </a:cubicBezTo>
                <a:cubicBezTo>
                  <a:pt x="111902" y="481394"/>
                  <a:pt x="74953" y="464925"/>
                  <a:pt x="44972" y="431988"/>
                </a:cubicBezTo>
                <a:cubicBezTo>
                  <a:pt x="14990" y="399050"/>
                  <a:pt x="0" y="355556"/>
                  <a:pt x="0" y="301505"/>
                </a:cubicBezTo>
                <a:cubicBezTo>
                  <a:pt x="0" y="230563"/>
                  <a:pt x="21324" y="169122"/>
                  <a:pt x="63974" y="117182"/>
                </a:cubicBezTo>
                <a:cubicBezTo>
                  <a:pt x="106624" y="65242"/>
                  <a:pt x="162575" y="26181"/>
                  <a:pt x="231829" y="0"/>
                </a:cubicBezTo>
                <a:close/>
              </a:path>
            </a:pathLst>
          </a:custGeom>
          <a:noFill/>
          <a:ln w="25400">
            <a:solidFill>
              <a:schemeClr val="accent2"/>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600"/>
              </a:spcBef>
            </a:pPr>
            <a:endParaRPr lang="en-US" sz="10000" b="1" i="0">
              <a:latin typeface="+mn-lt"/>
            </a:endParaRPr>
          </a:p>
        </p:txBody>
      </p:sp>
      <p:sp>
        <p:nvSpPr>
          <p:cNvPr id="2" name="Title 1">
            <a:extLst>
              <a:ext uri="{FF2B5EF4-FFF2-40B4-BE49-F238E27FC236}">
                <a16:creationId xmlns:a16="http://schemas.microsoft.com/office/drawing/2014/main" id="{8B478971-A225-4A64-8E00-AA9C8577611D}"/>
              </a:ext>
            </a:extLst>
          </p:cNvPr>
          <p:cNvSpPr>
            <a:spLocks noGrp="1"/>
          </p:cNvSpPr>
          <p:nvPr>
            <p:ph type="title" hasCustomPrompt="1"/>
          </p:nvPr>
        </p:nvSpPr>
        <p:spPr>
          <a:xfrm>
            <a:off x="773056" y="1009268"/>
            <a:ext cx="5718415" cy="4476115"/>
          </a:xfrm>
        </p:spPr>
        <p:txBody>
          <a:bodyPr anchor="ctr" anchorCtr="0"/>
          <a:lstStyle>
            <a:lvl1pPr marL="0" indent="0">
              <a:lnSpc>
                <a:spcPct val="100000"/>
              </a:lnSpc>
              <a:defRPr sz="2800">
                <a:latin typeface="+mj-lt"/>
              </a:defRPr>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Mauris </a:t>
            </a:r>
            <a:r>
              <a:rPr lang="en-US" err="1"/>
              <a:t>accum</a:t>
            </a:r>
            <a:r>
              <a:rPr lang="en-US"/>
              <a:t> </a:t>
            </a:r>
            <a:r>
              <a:rPr lang="en-US" err="1"/>
              <a:t>san</a:t>
            </a:r>
            <a:r>
              <a:rPr lang="en-US"/>
              <a:t> </a:t>
            </a:r>
            <a:r>
              <a:rPr lang="en-US" err="1"/>
              <a:t>urna</a:t>
            </a:r>
            <a:r>
              <a:rPr lang="en-US"/>
              <a:t>. Sus </a:t>
            </a:r>
            <a:r>
              <a:rPr lang="en-US" err="1"/>
              <a:t>pendisse</a:t>
            </a:r>
            <a:r>
              <a:rPr lang="en-US"/>
              <a:t> </a:t>
            </a:r>
            <a:r>
              <a:rPr lang="en-US" err="1"/>
              <a:t>sem</a:t>
            </a:r>
            <a:r>
              <a:rPr lang="en-US"/>
              <a:t> per semper </a:t>
            </a:r>
            <a:r>
              <a:rPr lang="en-US" err="1"/>
              <a:t>commodo</a:t>
            </a:r>
            <a:r>
              <a:rPr lang="en-US"/>
              <a:t>.”</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nvPr>
        </p:nvSpPr>
        <p:spPr>
          <a:xfrm>
            <a:off x="773056" y="5641514"/>
            <a:ext cx="5718415" cy="347472"/>
          </a:xfrm>
        </p:spPr>
        <p:txBody>
          <a:bodyPr/>
          <a:lstStyle>
            <a:lvl1pPr marL="0" indent="0">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3928" y="1346199"/>
            <a:ext cx="4690872" cy="429768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990342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BC41137-E6C9-A053-8403-388C27EB8CE1}"/>
              </a:ext>
            </a:extLst>
          </p:cNvPr>
          <p:cNvSpPr txBox="1"/>
          <p:nvPr/>
        </p:nvSpPr>
        <p:spPr bwMode="ltGray">
          <a:xfrm>
            <a:off x="457200" y="1401620"/>
            <a:ext cx="1425191" cy="1121270"/>
          </a:xfrm>
          <a:custGeom>
            <a:avLst/>
            <a:gdLst/>
            <a:ahLst/>
            <a:cxnLst/>
            <a:rect l="l" t="t" r="r" b="b"/>
            <a:pathLst>
              <a:path w="611876" h="481394">
                <a:moveTo>
                  <a:pt x="561203" y="0"/>
                </a:moveTo>
                <a:lnTo>
                  <a:pt x="611876" y="100080"/>
                </a:lnTo>
                <a:cubicBezTo>
                  <a:pt x="564581" y="124572"/>
                  <a:pt x="531433" y="149697"/>
                  <a:pt x="512430" y="175456"/>
                </a:cubicBezTo>
                <a:cubicBezTo>
                  <a:pt x="502929" y="188335"/>
                  <a:pt x="495803" y="202429"/>
                  <a:pt x="491053" y="217736"/>
                </a:cubicBezTo>
                <a:lnTo>
                  <a:pt x="489521" y="224578"/>
                </a:lnTo>
                <a:lnTo>
                  <a:pt x="492794" y="224228"/>
                </a:lnTo>
                <a:cubicBezTo>
                  <a:pt x="525732" y="224228"/>
                  <a:pt x="553813" y="236474"/>
                  <a:pt x="577038" y="260966"/>
                </a:cubicBezTo>
                <a:cubicBezTo>
                  <a:pt x="600263" y="285458"/>
                  <a:pt x="611876" y="315440"/>
                  <a:pt x="611876" y="350911"/>
                </a:cubicBezTo>
                <a:cubicBezTo>
                  <a:pt x="611876" y="387227"/>
                  <a:pt x="599841" y="418053"/>
                  <a:pt x="575772" y="443389"/>
                </a:cubicBezTo>
                <a:cubicBezTo>
                  <a:pt x="551702" y="468726"/>
                  <a:pt x="521509" y="481394"/>
                  <a:pt x="485194" y="481394"/>
                </a:cubicBezTo>
                <a:cubicBezTo>
                  <a:pt x="441277" y="481394"/>
                  <a:pt x="404328" y="464925"/>
                  <a:pt x="374346" y="431988"/>
                </a:cubicBezTo>
                <a:cubicBezTo>
                  <a:pt x="344365" y="399050"/>
                  <a:pt x="329374" y="355556"/>
                  <a:pt x="329374" y="301505"/>
                </a:cubicBezTo>
                <a:cubicBezTo>
                  <a:pt x="329374" y="230563"/>
                  <a:pt x="350699" y="169122"/>
                  <a:pt x="393349" y="117182"/>
                </a:cubicBezTo>
                <a:cubicBezTo>
                  <a:pt x="435998" y="65242"/>
                  <a:pt x="491950" y="26181"/>
                  <a:pt x="561203" y="0"/>
                </a:cubicBezTo>
                <a:close/>
                <a:moveTo>
                  <a:pt x="231829" y="0"/>
                </a:moveTo>
                <a:lnTo>
                  <a:pt x="282502" y="100080"/>
                </a:lnTo>
                <a:cubicBezTo>
                  <a:pt x="235207" y="124572"/>
                  <a:pt x="202058" y="149697"/>
                  <a:pt x="183056" y="175456"/>
                </a:cubicBezTo>
                <a:cubicBezTo>
                  <a:pt x="173555" y="188335"/>
                  <a:pt x="166429" y="202429"/>
                  <a:pt x="161678" y="217736"/>
                </a:cubicBezTo>
                <a:lnTo>
                  <a:pt x="160146" y="224578"/>
                </a:lnTo>
                <a:lnTo>
                  <a:pt x="163420" y="224228"/>
                </a:lnTo>
                <a:cubicBezTo>
                  <a:pt x="196357" y="224228"/>
                  <a:pt x="224439" y="236474"/>
                  <a:pt x="247664" y="260966"/>
                </a:cubicBezTo>
                <a:cubicBezTo>
                  <a:pt x="270889" y="285458"/>
                  <a:pt x="282501" y="315440"/>
                  <a:pt x="282502" y="350911"/>
                </a:cubicBezTo>
                <a:cubicBezTo>
                  <a:pt x="282501" y="387227"/>
                  <a:pt x="270467" y="418053"/>
                  <a:pt x="246397" y="443389"/>
                </a:cubicBezTo>
                <a:cubicBezTo>
                  <a:pt x="222327" y="468726"/>
                  <a:pt x="192135" y="481394"/>
                  <a:pt x="155819" y="481394"/>
                </a:cubicBezTo>
                <a:cubicBezTo>
                  <a:pt x="111902" y="481394"/>
                  <a:pt x="74953" y="464925"/>
                  <a:pt x="44972" y="431988"/>
                </a:cubicBezTo>
                <a:cubicBezTo>
                  <a:pt x="14990" y="399050"/>
                  <a:pt x="0" y="355556"/>
                  <a:pt x="0" y="301505"/>
                </a:cubicBezTo>
                <a:cubicBezTo>
                  <a:pt x="0" y="230563"/>
                  <a:pt x="21324" y="169122"/>
                  <a:pt x="63974" y="117182"/>
                </a:cubicBezTo>
                <a:cubicBezTo>
                  <a:pt x="106624" y="65242"/>
                  <a:pt x="162575" y="26181"/>
                  <a:pt x="231829" y="0"/>
                </a:cubicBezTo>
                <a:close/>
              </a:path>
            </a:pathLst>
          </a:custGeom>
          <a:noFill/>
          <a:ln w="25400">
            <a:solidFill>
              <a:schemeClr val="accent2"/>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600"/>
              </a:spcBef>
            </a:pPr>
            <a:endParaRPr lang="en-US" sz="10000" b="1" i="0">
              <a:latin typeface="+mn-lt"/>
            </a:endParaRPr>
          </a:p>
        </p:txBody>
      </p:sp>
      <p:sp>
        <p:nvSpPr>
          <p:cNvPr id="6" name="Title 1">
            <a:extLst>
              <a:ext uri="{FF2B5EF4-FFF2-40B4-BE49-F238E27FC236}">
                <a16:creationId xmlns:a16="http://schemas.microsoft.com/office/drawing/2014/main" id="{A5204F30-1AF4-524D-A3DC-8D6F9529A61E}"/>
              </a:ext>
            </a:extLst>
          </p:cNvPr>
          <p:cNvSpPr>
            <a:spLocks noGrp="1"/>
          </p:cNvSpPr>
          <p:nvPr>
            <p:ph type="title" hasCustomPrompt="1"/>
          </p:nvPr>
        </p:nvSpPr>
        <p:spPr>
          <a:xfrm>
            <a:off x="773054" y="995363"/>
            <a:ext cx="8086466" cy="4460875"/>
          </a:xfrm>
        </p:spPr>
        <p:txBody>
          <a:bodyPr anchor="ctr" anchorCtr="0"/>
          <a:lstStyle>
            <a:lvl1pPr marL="0" indent="0">
              <a:lnSpc>
                <a:spcPct val="100000"/>
              </a:lnSpc>
              <a:defRPr sz="28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Mauris </a:t>
            </a:r>
            <a:r>
              <a:rPr lang="en-US" err="1"/>
              <a:t>accum</a:t>
            </a:r>
            <a:r>
              <a:rPr lang="en-US"/>
              <a:t> </a:t>
            </a:r>
            <a:r>
              <a:rPr lang="en-US" err="1"/>
              <a:t>san</a:t>
            </a:r>
            <a:r>
              <a:rPr lang="en-US"/>
              <a:t> </a:t>
            </a:r>
            <a:r>
              <a:rPr lang="en-US" err="1"/>
              <a:t>urna</a:t>
            </a:r>
            <a:r>
              <a:rPr lang="en-US"/>
              <a:t>. Sus </a:t>
            </a:r>
            <a:r>
              <a:rPr lang="en-US" err="1"/>
              <a:t>pendisse</a:t>
            </a:r>
            <a:r>
              <a:rPr lang="en-US"/>
              <a:t> </a:t>
            </a:r>
            <a:r>
              <a:rPr lang="en-US" err="1"/>
              <a:t>sem</a:t>
            </a:r>
            <a:r>
              <a:rPr lang="en-US"/>
              <a:t> per semper </a:t>
            </a:r>
            <a:r>
              <a:rPr lang="en-US" err="1"/>
              <a:t>commodo</a:t>
            </a:r>
            <a:r>
              <a:rPr lang="en-US"/>
              <a:t>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nvPr>
        </p:nvSpPr>
        <p:spPr>
          <a:xfrm>
            <a:off x="773056" y="5641514"/>
            <a:ext cx="8086463" cy="347472"/>
          </a:xfrm>
        </p:spPr>
        <p:txBody>
          <a:bodyPr/>
          <a:lstStyle>
            <a:lvl1pPr marL="0" indent="0">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7910981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END">
    <p:bg>
      <p:bgPr>
        <a:solidFill>
          <a:srgbClr val="FFFF00"/>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A65764A-9DB5-E0B9-2854-737204071442}"/>
              </a:ext>
            </a:extLst>
          </p:cNvPr>
          <p:cNvSpPr txBox="1"/>
          <p:nvPr/>
        </p:nvSpPr>
        <p:spPr>
          <a:xfrm>
            <a:off x="208972" y="189623"/>
            <a:ext cx="11774056" cy="6555641"/>
          </a:xfrm>
          <a:prstGeom prst="rect">
            <a:avLst/>
          </a:prstGeom>
          <a:noFill/>
        </p:spPr>
        <p:txBody>
          <a:bodyPr wrap="none" lIns="0" rIns="0" rtlCol="0">
            <a:spAutoFit/>
          </a:bodyPr>
          <a:lstStyle/>
          <a:p>
            <a:pPr algn="ctr">
              <a:spcBef>
                <a:spcPts val="600"/>
              </a:spcBef>
            </a:pPr>
            <a:r>
              <a:rPr lang="en-US" sz="9600" dirty="0">
                <a:solidFill>
                  <a:srgbClr val="00002D"/>
                </a:solidFill>
                <a:latin typeface="+mj-lt"/>
              </a:rPr>
              <a:t>Don’t use this or any </a:t>
            </a:r>
            <a:br>
              <a:rPr lang="en-US" sz="9600" dirty="0">
                <a:solidFill>
                  <a:srgbClr val="00002D"/>
                </a:solidFill>
                <a:latin typeface="+mj-lt"/>
              </a:rPr>
            </a:br>
            <a:r>
              <a:rPr lang="en-US" sz="9600" dirty="0">
                <a:solidFill>
                  <a:srgbClr val="00002D"/>
                </a:solidFill>
                <a:latin typeface="+mj-lt"/>
              </a:rPr>
              <a:t>layouts after this.</a:t>
            </a:r>
            <a:endParaRPr lang="en-US" sz="4400" dirty="0">
              <a:solidFill>
                <a:srgbClr val="00002D"/>
              </a:solidFill>
              <a:latin typeface="+mj-lt"/>
            </a:endParaRPr>
          </a:p>
          <a:p>
            <a:pPr algn="ctr">
              <a:spcBef>
                <a:spcPts val="3600"/>
              </a:spcBef>
            </a:pPr>
            <a:r>
              <a:rPr lang="en-US" sz="6600" dirty="0">
                <a:solidFill>
                  <a:srgbClr val="00002D"/>
                </a:solidFill>
              </a:rPr>
              <a:t>Choose an appropriate </a:t>
            </a:r>
            <a:br>
              <a:rPr lang="en-US" sz="6600" dirty="0">
                <a:solidFill>
                  <a:srgbClr val="00002D"/>
                </a:solidFill>
              </a:rPr>
            </a:br>
            <a:r>
              <a:rPr lang="en-US" sz="6600" dirty="0">
                <a:solidFill>
                  <a:srgbClr val="00002D"/>
                </a:solidFill>
              </a:rPr>
              <a:t>layout from </a:t>
            </a:r>
            <a:br>
              <a:rPr lang="en-US" sz="6600" dirty="0">
                <a:solidFill>
                  <a:srgbClr val="00002D"/>
                </a:solidFill>
              </a:rPr>
            </a:br>
            <a:r>
              <a:rPr lang="en-US" sz="6600" b="1" dirty="0">
                <a:solidFill>
                  <a:srgbClr val="00002D"/>
                </a:solidFill>
              </a:rPr>
              <a:t>Home</a:t>
            </a:r>
            <a:r>
              <a:rPr lang="en-US" sz="6600" dirty="0">
                <a:solidFill>
                  <a:srgbClr val="00002D"/>
                </a:solidFill>
              </a:rPr>
              <a:t> &gt; </a:t>
            </a:r>
            <a:r>
              <a:rPr lang="en-US" sz="6600" b="1" dirty="0">
                <a:solidFill>
                  <a:srgbClr val="00002D"/>
                </a:solidFill>
              </a:rPr>
              <a:t>Layout gallery</a:t>
            </a:r>
            <a:r>
              <a:rPr lang="en-US" sz="6600" dirty="0">
                <a:solidFill>
                  <a:srgbClr val="00002D"/>
                </a:solidFill>
              </a:rPr>
              <a:t>.</a:t>
            </a:r>
          </a:p>
        </p:txBody>
      </p:sp>
      <p:sp>
        <p:nvSpPr>
          <p:cNvPr id="2" name="TextBox 1">
            <a:extLst>
              <a:ext uri="{FF2B5EF4-FFF2-40B4-BE49-F238E27FC236}">
                <a16:creationId xmlns:a16="http://schemas.microsoft.com/office/drawing/2014/main" id="{EB11D6F1-48A0-B0B0-BC3C-5FC66330BED9}"/>
              </a:ext>
            </a:extLst>
          </p:cNvPr>
          <p:cNvSpPr txBox="1"/>
          <p:nvPr/>
        </p:nvSpPr>
        <p:spPr>
          <a:xfrm>
            <a:off x="12346930" y="835909"/>
            <a:ext cx="2668480" cy="2539157"/>
          </a:xfrm>
          <a:prstGeom prst="rect">
            <a:avLst/>
          </a:prstGeom>
          <a:noFill/>
          <a:ln>
            <a:solidFill>
              <a:srgbClr val="707996"/>
            </a:solidFill>
          </a:ln>
        </p:spPr>
        <p:txBody>
          <a:bodyPr wrap="square" lIns="91440" rIns="91440" rtlCol="0">
            <a:spAutoFit/>
          </a:bodyPr>
          <a:lstStyle/>
          <a:p>
            <a:pPr algn="l">
              <a:spcBef>
                <a:spcPts val="600"/>
              </a:spcBef>
            </a:pPr>
            <a:r>
              <a:rPr lang="en-US" sz="1400" dirty="0">
                <a:solidFill>
                  <a:srgbClr val="00002D"/>
                </a:solidFill>
              </a:rPr>
              <a:t>When pasting legacy slides that doesn’t match any of the new layouts, PowerPoint adds it to the end of the layouts and prepends the layout name with a number (</a:t>
            </a:r>
            <a:r>
              <a:rPr lang="en-US" sz="1400" dirty="0" err="1">
                <a:solidFill>
                  <a:srgbClr val="00002D"/>
                </a:solidFill>
              </a:rPr>
              <a:t>1_Title</a:t>
            </a:r>
            <a:r>
              <a:rPr lang="en-US" sz="1400" dirty="0">
                <a:solidFill>
                  <a:srgbClr val="00002D"/>
                </a:solidFill>
              </a:rPr>
              <a:t> Slide, for example). </a:t>
            </a:r>
          </a:p>
          <a:p>
            <a:pPr algn="l">
              <a:spcBef>
                <a:spcPts val="600"/>
              </a:spcBef>
            </a:pPr>
            <a:r>
              <a:rPr lang="en-US" sz="1400" dirty="0">
                <a:solidFill>
                  <a:srgbClr val="00002D"/>
                </a:solidFill>
              </a:rPr>
              <a:t>These “orphaned” layouts should not be used, instead choose from the layouts preceding this one. </a:t>
            </a:r>
          </a:p>
        </p:txBody>
      </p:sp>
    </p:spTree>
    <p:extLst>
      <p:ext uri="{BB962C8B-B14F-4D97-AF65-F5344CB8AC3E}">
        <p14:creationId xmlns:p14="http://schemas.microsoft.com/office/powerpoint/2010/main" val="11348932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20000">
              <a:schemeClr val="bg2"/>
            </a:gs>
            <a:gs pos="100000">
              <a:schemeClr val="accent2"/>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invGray">
          <a:xfrm>
            <a:off x="1371600" y="2149713"/>
            <a:ext cx="8426919" cy="2185214"/>
          </a:xfrm>
          <a:prstGeom prst="bracketPair">
            <a:avLst>
              <a:gd name="adj" fmla="val 0"/>
            </a:avLst>
          </a:prstGeom>
          <a:ln w="101600">
            <a:solidFill>
              <a:schemeClr val="accent3"/>
            </a:solidFill>
          </a:ln>
        </p:spPr>
        <p:txBody>
          <a:bodyPr lIns="228600" tIns="91440" rIns="182880" bIns="731520" anchor="t" anchorCtr="0">
            <a:spAutoFit/>
          </a:bodyPr>
          <a:lstStyle>
            <a:lvl1pPr algn="l">
              <a:defRPr sz="4400"/>
            </a:lvl1pPr>
          </a:lstStyle>
          <a:p>
            <a:r>
              <a:rPr lang="en-US"/>
              <a:t>Click to Add Title; 2 Lines of Copy; 60 Characters Maximum</a:t>
            </a:r>
          </a:p>
        </p:txBody>
      </p:sp>
      <p:sp>
        <p:nvSpPr>
          <p:cNvPr id="3" name="Subtitle 2"/>
          <p:cNvSpPr>
            <a:spLocks noGrp="1"/>
          </p:cNvSpPr>
          <p:nvPr>
            <p:ph type="subTitle" idx="1" hasCustomPrompt="1"/>
          </p:nvPr>
        </p:nvSpPr>
        <p:spPr>
          <a:xfrm>
            <a:off x="1371600" y="3851940"/>
            <a:ext cx="8426919" cy="276999"/>
          </a:xfrm>
        </p:spPr>
        <p:txBody>
          <a:bodyPr lIns="246888" rIns="182880">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685800" y="6199632"/>
            <a:ext cx="7095744" cy="323165"/>
          </a:xfrm>
          <a:prstGeom prst="rect">
            <a:avLst/>
          </a:prstGeom>
          <a:noFill/>
        </p:spPr>
        <p:txBody>
          <a:bodyPr wrap="square" lIns="0" tIns="0" rIns="0" bIns="0" rtlCol="0" anchor="b" anchorCtr="0">
            <a:spAutoFit/>
          </a:bodyPr>
          <a:lstStyle/>
          <a:p>
            <a:r>
              <a:rPr lang="en-US" sz="700"/>
              <a:t>© 2026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800" y="685800"/>
            <a:ext cx="1737435" cy="395448"/>
          </a:xfrm>
          <a:prstGeom prst="rect">
            <a:avLst/>
          </a:prstGeom>
        </p:spPr>
      </p:pic>
    </p:spTree>
    <p:extLst>
      <p:ext uri="{BB962C8B-B14F-4D97-AF65-F5344CB8AC3E}">
        <p14:creationId xmlns:p14="http://schemas.microsoft.com/office/powerpoint/2010/main" val="13874042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86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Pr>
        <a:solidFill>
          <a:srgbClr val="E0F1F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1371600" y="2149713"/>
            <a:ext cx="8426919" cy="2185214"/>
          </a:xfrm>
          <a:prstGeom prst="bracketPair">
            <a:avLst>
              <a:gd name="adj" fmla="val 0"/>
            </a:avLst>
          </a:prstGeom>
          <a:ln w="114300">
            <a:solidFill>
              <a:schemeClr val="accent3"/>
            </a:solidFill>
          </a:ln>
        </p:spPr>
        <p:txBody>
          <a:bodyPr lIns="228600" tIns="91440" rIns="182880" bIns="731520" anchor="t" anchorCtr="0">
            <a:spAutoFit/>
          </a:bodyPr>
          <a:lstStyle>
            <a:lvl1pPr algn="l">
              <a:defRPr sz="4400"/>
            </a:lvl1pPr>
          </a:lstStyle>
          <a:p>
            <a:r>
              <a:rPr lang="en-US"/>
              <a:t>Click to Add Title; 2 Lines of Copy; 60 Characters Maximum</a:t>
            </a:r>
          </a:p>
        </p:txBody>
      </p:sp>
      <p:sp>
        <p:nvSpPr>
          <p:cNvPr id="14" name="TextBox 13">
            <a:extLst>
              <a:ext uri="{FF2B5EF4-FFF2-40B4-BE49-F238E27FC236}">
                <a16:creationId xmlns:a16="http://schemas.microsoft.com/office/drawing/2014/main" id="{BB93A754-CF98-4BEB-BE89-ADF1CF77AA4F}"/>
              </a:ext>
            </a:extLst>
          </p:cNvPr>
          <p:cNvSpPr txBox="1"/>
          <p:nvPr/>
        </p:nvSpPr>
        <p:spPr>
          <a:xfrm>
            <a:off x="685800" y="6199632"/>
            <a:ext cx="7095744" cy="323165"/>
          </a:xfrm>
          <a:prstGeom prst="rect">
            <a:avLst/>
          </a:prstGeom>
          <a:noFill/>
        </p:spPr>
        <p:txBody>
          <a:bodyPr wrap="square" lIns="0" tIns="0" rIns="0" bIns="0" rtlCol="0" anchor="b" anchorCtr="0">
            <a:spAutoFit/>
          </a:bodyPr>
          <a:lstStyle/>
          <a:p>
            <a:r>
              <a:rPr lang="en-US" sz="700"/>
              <a:t>© 2026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p:nvPicPr>
        <p:blipFill>
          <a:blip r:embed="rId2">
            <a:extLst>
              <a:ext uri="{28A0092B-C50C-407E-A947-70E740481C1C}">
                <a14:useLocalDpi xmlns:a14="http://schemas.microsoft.com/office/drawing/2010/main" val="0"/>
              </a:ext>
            </a:extLst>
          </a:blip>
          <a:srcRect t="226" b="226"/>
          <a:stretch/>
        </p:blipFill>
        <p:spPr>
          <a:xfrm>
            <a:off x="685800" y="685800"/>
            <a:ext cx="1736570" cy="395448"/>
          </a:xfrm>
          <a:prstGeom prst="rect">
            <a:avLst/>
          </a:prstGeom>
        </p:spPr>
      </p:pic>
      <p:sp>
        <p:nvSpPr>
          <p:cNvPr id="3" name="Subtitle 2"/>
          <p:cNvSpPr>
            <a:spLocks noGrp="1"/>
          </p:cNvSpPr>
          <p:nvPr>
            <p:ph type="subTitle" idx="1" hasCustomPrompt="1"/>
          </p:nvPr>
        </p:nvSpPr>
        <p:spPr>
          <a:xfrm>
            <a:off x="1371600" y="3851940"/>
            <a:ext cx="8426919" cy="276999"/>
          </a:xfrm>
        </p:spPr>
        <p:txBody>
          <a:bodyPr lIns="246888" rIns="182880">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p>
        </p:txBody>
      </p:sp>
    </p:spTree>
    <p:extLst>
      <p:ext uri="{BB962C8B-B14F-4D97-AF65-F5344CB8AC3E}">
        <p14:creationId xmlns:p14="http://schemas.microsoft.com/office/powerpoint/2010/main" val="27947198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86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09203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41605677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05298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6531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74878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lvl1pPr>
              <a:defRPr b="1" i="0">
                <a:latin typeface="Gartner Sans Semibold" panose="020B0504030402040204" pitchFamily="34" charset="77"/>
              </a:defRPr>
            </a:lvl1pPr>
          </a:lstStyle>
          <a:p>
            <a:r>
              <a:rPr lang="en-US" dirty="0"/>
              <a:t>Click to edit title</a:t>
            </a:r>
          </a:p>
        </p:txBody>
      </p:sp>
    </p:spTree>
    <p:extLst>
      <p:ext uri="{BB962C8B-B14F-4D97-AF65-F5344CB8AC3E}">
        <p14:creationId xmlns:p14="http://schemas.microsoft.com/office/powerpoint/2010/main" val="2352677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00093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bwMode="ltGray">
          <a:xfrm>
            <a:off x="457200" y="1527048"/>
            <a:ext cx="3337560" cy="4462272"/>
          </a:xfrm>
          <a:solidFill>
            <a:srgbClr val="B8DEFF"/>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bwMode="ltGray">
          <a:xfrm>
            <a:off x="4425696" y="1527048"/>
            <a:ext cx="3337560" cy="4462272"/>
          </a:xfrm>
          <a:solidFill>
            <a:srgbClr val="B8DEFF"/>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bwMode="ltGray">
          <a:xfrm>
            <a:off x="8394192" y="1527048"/>
            <a:ext cx="3337560" cy="4462272"/>
          </a:xfrm>
          <a:solidFill>
            <a:srgbClr val="B8DEFF"/>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77332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78544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bwMode="ltGray">
          <a:xfrm>
            <a:off x="457200" y="1527048"/>
            <a:ext cx="2600706" cy="4462272"/>
          </a:xfrm>
          <a:solidFill>
            <a:srgbClr val="B8DEFF"/>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bwMode="ltGray">
          <a:xfrm>
            <a:off x="3348482" y="1527048"/>
            <a:ext cx="2600706" cy="4462272"/>
          </a:xfrm>
          <a:solidFill>
            <a:srgbClr val="B8DEFF"/>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bwMode="ltGray">
          <a:xfrm>
            <a:off x="6239764" y="1527048"/>
            <a:ext cx="2600706" cy="4462272"/>
          </a:xfrm>
          <a:solidFill>
            <a:srgbClr val="B8DEFF"/>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bwMode="ltGray">
          <a:xfrm>
            <a:off x="9131046" y="1527048"/>
            <a:ext cx="2600706" cy="4462272"/>
          </a:xfrm>
          <a:solidFill>
            <a:srgbClr val="B8DEFF"/>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0233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E0F1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BAA7-7402-7653-A21A-2C33B981B892}"/>
              </a:ext>
            </a:extLst>
          </p:cNvPr>
          <p:cNvSpPr>
            <a:spLocks noGrp="1"/>
          </p:cNvSpPr>
          <p:nvPr>
            <p:ph type="title" hasCustomPrompt="1"/>
          </p:nvPr>
        </p:nvSpPr>
        <p:spPr bwMode="gray">
          <a:xfrm>
            <a:off x="1365814" y="1590378"/>
            <a:ext cx="5408210" cy="2031326"/>
          </a:xfrm>
          <a:prstGeom prst="bracketPair">
            <a:avLst>
              <a:gd name="adj" fmla="val 0"/>
            </a:avLst>
          </a:prstGeom>
          <a:ln w="101600">
            <a:solidFill>
              <a:schemeClr val="accent3"/>
            </a:solidFill>
          </a:ln>
        </p:spPr>
        <p:txBody>
          <a:bodyPr wrap="square" lIns="228600" rIns="182880" anchor="ctr" anchorCtr="0">
            <a:spAutoFit/>
          </a:bodyPr>
          <a:lstStyle>
            <a:lvl1pPr>
              <a:defRPr sz="4400"/>
            </a:lvl1pPr>
          </a:lstStyle>
          <a:p>
            <a:r>
              <a:rPr lang="en-US"/>
              <a:t>Divider Slide</a:t>
            </a:r>
            <a:br>
              <a:rPr lang="en-US"/>
            </a:br>
            <a:r>
              <a:rPr lang="en-US"/>
              <a:t>30 Characters Max.</a:t>
            </a:r>
            <a:br>
              <a:rPr lang="en-US"/>
            </a:br>
            <a:r>
              <a:rPr lang="en-US"/>
              <a:t>Lorem Ipsum</a:t>
            </a:r>
          </a:p>
        </p:txBody>
      </p:sp>
    </p:spTree>
    <p:extLst>
      <p:ext uri="{BB962C8B-B14F-4D97-AF65-F5344CB8AC3E}">
        <p14:creationId xmlns:p14="http://schemas.microsoft.com/office/powerpoint/2010/main" val="16943896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Left Rai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1F3F689-0EFE-267D-1F38-8A7BB7CF62AF}"/>
              </a:ext>
            </a:extLst>
          </p:cNvPr>
          <p:cNvSpPr/>
          <p:nvPr/>
        </p:nvSpPr>
        <p:spPr bwMode="invGray">
          <a:xfrm>
            <a:off x="-1" y="0"/>
            <a:ext cx="4050792" cy="6858000"/>
          </a:xfrm>
          <a:prstGeom prst="rect">
            <a:avLst/>
          </a:prstGeom>
          <a:gradFill>
            <a:gsLst>
              <a:gs pos="0">
                <a:schemeClr val="accent2"/>
              </a:gs>
              <a:gs pos="80000">
                <a:schemeClr val="tx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D9D03778-9F51-35F8-9B55-7FB58E49C224}"/>
              </a:ext>
            </a:extLst>
          </p:cNvPr>
          <p:cNvSpPr>
            <a:spLocks noGrp="1"/>
          </p:cNvSpPr>
          <p:nvPr>
            <p:ph type="title"/>
          </p:nvPr>
        </p:nvSpPr>
        <p:spPr>
          <a:xfrm>
            <a:off x="457200" y="361950"/>
            <a:ext cx="3114675" cy="2051312"/>
          </a:xfrm>
        </p:spPr>
        <p:txBody>
          <a:bodyPr/>
          <a:lstStyle>
            <a:lvl1pPr>
              <a:defRPr>
                <a:solidFill>
                  <a:srgbClr val="FFFFFF"/>
                </a:solidFill>
              </a:defRPr>
            </a:lvl1pPr>
          </a:lstStyle>
          <a:p>
            <a:r>
              <a:rPr lang="en-US"/>
              <a:t>Click to edit Master title style</a:t>
            </a:r>
          </a:p>
        </p:txBody>
      </p:sp>
      <p:sp>
        <p:nvSpPr>
          <p:cNvPr id="4" name="TextBox 3">
            <a:extLst>
              <a:ext uri="{FF2B5EF4-FFF2-40B4-BE49-F238E27FC236}">
                <a16:creationId xmlns:a16="http://schemas.microsoft.com/office/drawing/2014/main" id="{64B9B515-6C0A-2DCC-BDD9-2AEDE0D6D5DB}"/>
              </a:ext>
            </a:extLst>
          </p:cNvPr>
          <p:cNvSpPr txBox="1"/>
          <p:nvPr/>
        </p:nvSpPr>
        <p:spPr>
          <a:xfrm>
            <a:off x="457200" y="6393216"/>
            <a:ext cx="3566160"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rgbClr val="FFFFFF"/>
                </a:solidFill>
              </a:rPr>
              <a:t>‹#›</a:t>
            </a:fld>
            <a:r>
              <a:rPr lang="en-US" sz="700" b="0">
                <a:solidFill>
                  <a:srgbClr val="FFFFFF"/>
                </a:solidFill>
              </a:rPr>
              <a:t>	RESTRICTED © 2026 Gartner, Inc. and/or its affiliates. All rights reserved.</a:t>
            </a:r>
          </a:p>
        </p:txBody>
      </p:sp>
      <p:sp>
        <p:nvSpPr>
          <p:cNvPr id="6" name="Content Placeholder 5">
            <a:extLst>
              <a:ext uri="{FF2B5EF4-FFF2-40B4-BE49-F238E27FC236}">
                <a16:creationId xmlns:a16="http://schemas.microsoft.com/office/drawing/2014/main" id="{D3AB07D3-66B0-EF24-E15D-D61DB03311CA}"/>
              </a:ext>
            </a:extLst>
          </p:cNvPr>
          <p:cNvSpPr>
            <a:spLocks noGrp="1"/>
          </p:cNvSpPr>
          <p:nvPr>
            <p:ph sz="quarter" idx="10"/>
          </p:nvPr>
        </p:nvSpPr>
        <p:spPr>
          <a:xfrm>
            <a:off x="4478482" y="1346200"/>
            <a:ext cx="7256318" cy="45040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83989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1C83FFE-85A9-5C0D-5033-94BE254D3694}"/>
              </a:ext>
            </a:extLst>
          </p:cNvPr>
          <p:cNvSpPr txBox="1"/>
          <p:nvPr/>
        </p:nvSpPr>
        <p:spPr bwMode="ltGray">
          <a:xfrm>
            <a:off x="457200" y="1401620"/>
            <a:ext cx="1425191" cy="1121270"/>
          </a:xfrm>
          <a:custGeom>
            <a:avLst/>
            <a:gdLst/>
            <a:ahLst/>
            <a:cxnLst/>
            <a:rect l="l" t="t" r="r" b="b"/>
            <a:pathLst>
              <a:path w="611876" h="481394">
                <a:moveTo>
                  <a:pt x="561203" y="0"/>
                </a:moveTo>
                <a:lnTo>
                  <a:pt x="611876" y="100080"/>
                </a:lnTo>
                <a:cubicBezTo>
                  <a:pt x="564581" y="124572"/>
                  <a:pt x="531433" y="149697"/>
                  <a:pt x="512430" y="175456"/>
                </a:cubicBezTo>
                <a:cubicBezTo>
                  <a:pt x="502929" y="188335"/>
                  <a:pt x="495803" y="202429"/>
                  <a:pt x="491053" y="217736"/>
                </a:cubicBezTo>
                <a:lnTo>
                  <a:pt x="489521" y="224578"/>
                </a:lnTo>
                <a:lnTo>
                  <a:pt x="492794" y="224228"/>
                </a:lnTo>
                <a:cubicBezTo>
                  <a:pt x="525732" y="224228"/>
                  <a:pt x="553813" y="236474"/>
                  <a:pt x="577038" y="260966"/>
                </a:cubicBezTo>
                <a:cubicBezTo>
                  <a:pt x="600263" y="285458"/>
                  <a:pt x="611876" y="315440"/>
                  <a:pt x="611876" y="350911"/>
                </a:cubicBezTo>
                <a:cubicBezTo>
                  <a:pt x="611876" y="387227"/>
                  <a:pt x="599841" y="418053"/>
                  <a:pt x="575772" y="443389"/>
                </a:cubicBezTo>
                <a:cubicBezTo>
                  <a:pt x="551702" y="468726"/>
                  <a:pt x="521509" y="481394"/>
                  <a:pt x="485194" y="481394"/>
                </a:cubicBezTo>
                <a:cubicBezTo>
                  <a:pt x="441277" y="481394"/>
                  <a:pt x="404328" y="464925"/>
                  <a:pt x="374346" y="431988"/>
                </a:cubicBezTo>
                <a:cubicBezTo>
                  <a:pt x="344365" y="399050"/>
                  <a:pt x="329374" y="355556"/>
                  <a:pt x="329374" y="301505"/>
                </a:cubicBezTo>
                <a:cubicBezTo>
                  <a:pt x="329374" y="230563"/>
                  <a:pt x="350699" y="169122"/>
                  <a:pt x="393349" y="117182"/>
                </a:cubicBezTo>
                <a:cubicBezTo>
                  <a:pt x="435998" y="65242"/>
                  <a:pt x="491950" y="26181"/>
                  <a:pt x="561203" y="0"/>
                </a:cubicBezTo>
                <a:close/>
                <a:moveTo>
                  <a:pt x="231829" y="0"/>
                </a:moveTo>
                <a:lnTo>
                  <a:pt x="282502" y="100080"/>
                </a:lnTo>
                <a:cubicBezTo>
                  <a:pt x="235207" y="124572"/>
                  <a:pt x="202058" y="149697"/>
                  <a:pt x="183056" y="175456"/>
                </a:cubicBezTo>
                <a:cubicBezTo>
                  <a:pt x="173555" y="188335"/>
                  <a:pt x="166429" y="202429"/>
                  <a:pt x="161678" y="217736"/>
                </a:cubicBezTo>
                <a:lnTo>
                  <a:pt x="160146" y="224578"/>
                </a:lnTo>
                <a:lnTo>
                  <a:pt x="163420" y="224228"/>
                </a:lnTo>
                <a:cubicBezTo>
                  <a:pt x="196357" y="224228"/>
                  <a:pt x="224439" y="236474"/>
                  <a:pt x="247664" y="260966"/>
                </a:cubicBezTo>
                <a:cubicBezTo>
                  <a:pt x="270889" y="285458"/>
                  <a:pt x="282501" y="315440"/>
                  <a:pt x="282502" y="350911"/>
                </a:cubicBezTo>
                <a:cubicBezTo>
                  <a:pt x="282501" y="387227"/>
                  <a:pt x="270467" y="418053"/>
                  <a:pt x="246397" y="443389"/>
                </a:cubicBezTo>
                <a:cubicBezTo>
                  <a:pt x="222327" y="468726"/>
                  <a:pt x="192135" y="481394"/>
                  <a:pt x="155819" y="481394"/>
                </a:cubicBezTo>
                <a:cubicBezTo>
                  <a:pt x="111902" y="481394"/>
                  <a:pt x="74953" y="464925"/>
                  <a:pt x="44972" y="431988"/>
                </a:cubicBezTo>
                <a:cubicBezTo>
                  <a:pt x="14990" y="399050"/>
                  <a:pt x="0" y="355556"/>
                  <a:pt x="0" y="301505"/>
                </a:cubicBezTo>
                <a:cubicBezTo>
                  <a:pt x="0" y="230563"/>
                  <a:pt x="21324" y="169122"/>
                  <a:pt x="63974" y="117182"/>
                </a:cubicBezTo>
                <a:cubicBezTo>
                  <a:pt x="106624" y="65242"/>
                  <a:pt x="162575" y="26181"/>
                  <a:pt x="231829" y="0"/>
                </a:cubicBezTo>
                <a:close/>
              </a:path>
            </a:pathLst>
          </a:custGeom>
          <a:noFill/>
          <a:ln w="25400">
            <a:solidFill>
              <a:srgbClr val="B8DEFF"/>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600"/>
              </a:spcBef>
            </a:pPr>
            <a:endParaRPr lang="en-US" sz="10000" b="1" i="0">
              <a:latin typeface="+mn-lt"/>
            </a:endParaRPr>
          </a:p>
        </p:txBody>
      </p:sp>
      <p:sp>
        <p:nvSpPr>
          <p:cNvPr id="2" name="Title 1">
            <a:extLst>
              <a:ext uri="{FF2B5EF4-FFF2-40B4-BE49-F238E27FC236}">
                <a16:creationId xmlns:a16="http://schemas.microsoft.com/office/drawing/2014/main" id="{8B478971-A225-4A64-8E00-AA9C8577611D}"/>
              </a:ext>
            </a:extLst>
          </p:cNvPr>
          <p:cNvSpPr>
            <a:spLocks noGrp="1"/>
          </p:cNvSpPr>
          <p:nvPr>
            <p:ph type="title" hasCustomPrompt="1"/>
          </p:nvPr>
        </p:nvSpPr>
        <p:spPr>
          <a:xfrm>
            <a:off x="773056" y="1009268"/>
            <a:ext cx="5718415" cy="4476115"/>
          </a:xfrm>
        </p:spPr>
        <p:txBody>
          <a:bodyPr anchor="ctr" anchorCtr="0"/>
          <a:lstStyle>
            <a:lvl1pPr marL="0" indent="0">
              <a:lnSpc>
                <a:spcPct val="100000"/>
              </a:lnSpc>
              <a:defRPr sz="2800">
                <a:latin typeface="+mj-lt"/>
              </a:defRPr>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Mauris </a:t>
            </a:r>
            <a:r>
              <a:rPr lang="en-US" err="1"/>
              <a:t>accum</a:t>
            </a:r>
            <a:r>
              <a:rPr lang="en-US"/>
              <a:t> </a:t>
            </a:r>
            <a:r>
              <a:rPr lang="en-US" err="1"/>
              <a:t>san</a:t>
            </a:r>
            <a:r>
              <a:rPr lang="en-US"/>
              <a:t> </a:t>
            </a:r>
            <a:r>
              <a:rPr lang="en-US" err="1"/>
              <a:t>urna</a:t>
            </a:r>
            <a:r>
              <a:rPr lang="en-US"/>
              <a:t>. Sus </a:t>
            </a:r>
            <a:r>
              <a:rPr lang="en-US" err="1"/>
              <a:t>pendisse</a:t>
            </a:r>
            <a:r>
              <a:rPr lang="en-US"/>
              <a:t> </a:t>
            </a:r>
            <a:r>
              <a:rPr lang="en-US" err="1"/>
              <a:t>sem</a:t>
            </a:r>
            <a:r>
              <a:rPr lang="en-US"/>
              <a:t> per semper </a:t>
            </a:r>
            <a:r>
              <a:rPr lang="en-US" err="1"/>
              <a:t>commodo</a:t>
            </a:r>
            <a:r>
              <a:rPr lang="en-US"/>
              <a:t>.”</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nvPr>
        </p:nvSpPr>
        <p:spPr>
          <a:xfrm>
            <a:off x="773056" y="5641514"/>
            <a:ext cx="5718415" cy="347472"/>
          </a:xfrm>
        </p:spPr>
        <p:txBody>
          <a:bodyPr/>
          <a:lstStyle>
            <a:lvl1pPr marL="0" indent="0">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3928" y="1346199"/>
            <a:ext cx="4690872" cy="429768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42114646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BC41137-E6C9-A053-8403-388C27EB8CE1}"/>
              </a:ext>
            </a:extLst>
          </p:cNvPr>
          <p:cNvSpPr txBox="1"/>
          <p:nvPr/>
        </p:nvSpPr>
        <p:spPr bwMode="ltGray">
          <a:xfrm>
            <a:off x="457200" y="1401620"/>
            <a:ext cx="1425191" cy="1121270"/>
          </a:xfrm>
          <a:custGeom>
            <a:avLst/>
            <a:gdLst/>
            <a:ahLst/>
            <a:cxnLst/>
            <a:rect l="l" t="t" r="r" b="b"/>
            <a:pathLst>
              <a:path w="611876" h="481394">
                <a:moveTo>
                  <a:pt x="561203" y="0"/>
                </a:moveTo>
                <a:lnTo>
                  <a:pt x="611876" y="100080"/>
                </a:lnTo>
                <a:cubicBezTo>
                  <a:pt x="564581" y="124572"/>
                  <a:pt x="531433" y="149697"/>
                  <a:pt x="512430" y="175456"/>
                </a:cubicBezTo>
                <a:cubicBezTo>
                  <a:pt x="502929" y="188335"/>
                  <a:pt x="495803" y="202429"/>
                  <a:pt x="491053" y="217736"/>
                </a:cubicBezTo>
                <a:lnTo>
                  <a:pt x="489521" y="224578"/>
                </a:lnTo>
                <a:lnTo>
                  <a:pt x="492794" y="224228"/>
                </a:lnTo>
                <a:cubicBezTo>
                  <a:pt x="525732" y="224228"/>
                  <a:pt x="553813" y="236474"/>
                  <a:pt x="577038" y="260966"/>
                </a:cubicBezTo>
                <a:cubicBezTo>
                  <a:pt x="600263" y="285458"/>
                  <a:pt x="611876" y="315440"/>
                  <a:pt x="611876" y="350911"/>
                </a:cubicBezTo>
                <a:cubicBezTo>
                  <a:pt x="611876" y="387227"/>
                  <a:pt x="599841" y="418053"/>
                  <a:pt x="575772" y="443389"/>
                </a:cubicBezTo>
                <a:cubicBezTo>
                  <a:pt x="551702" y="468726"/>
                  <a:pt x="521509" y="481394"/>
                  <a:pt x="485194" y="481394"/>
                </a:cubicBezTo>
                <a:cubicBezTo>
                  <a:pt x="441277" y="481394"/>
                  <a:pt x="404328" y="464925"/>
                  <a:pt x="374346" y="431988"/>
                </a:cubicBezTo>
                <a:cubicBezTo>
                  <a:pt x="344365" y="399050"/>
                  <a:pt x="329374" y="355556"/>
                  <a:pt x="329374" y="301505"/>
                </a:cubicBezTo>
                <a:cubicBezTo>
                  <a:pt x="329374" y="230563"/>
                  <a:pt x="350699" y="169122"/>
                  <a:pt x="393349" y="117182"/>
                </a:cubicBezTo>
                <a:cubicBezTo>
                  <a:pt x="435998" y="65242"/>
                  <a:pt x="491950" y="26181"/>
                  <a:pt x="561203" y="0"/>
                </a:cubicBezTo>
                <a:close/>
                <a:moveTo>
                  <a:pt x="231829" y="0"/>
                </a:moveTo>
                <a:lnTo>
                  <a:pt x="282502" y="100080"/>
                </a:lnTo>
                <a:cubicBezTo>
                  <a:pt x="235207" y="124572"/>
                  <a:pt x="202058" y="149697"/>
                  <a:pt x="183056" y="175456"/>
                </a:cubicBezTo>
                <a:cubicBezTo>
                  <a:pt x="173555" y="188335"/>
                  <a:pt x="166429" y="202429"/>
                  <a:pt x="161678" y="217736"/>
                </a:cubicBezTo>
                <a:lnTo>
                  <a:pt x="160146" y="224578"/>
                </a:lnTo>
                <a:lnTo>
                  <a:pt x="163420" y="224228"/>
                </a:lnTo>
                <a:cubicBezTo>
                  <a:pt x="196357" y="224228"/>
                  <a:pt x="224439" y="236474"/>
                  <a:pt x="247664" y="260966"/>
                </a:cubicBezTo>
                <a:cubicBezTo>
                  <a:pt x="270889" y="285458"/>
                  <a:pt x="282501" y="315440"/>
                  <a:pt x="282502" y="350911"/>
                </a:cubicBezTo>
                <a:cubicBezTo>
                  <a:pt x="282501" y="387227"/>
                  <a:pt x="270467" y="418053"/>
                  <a:pt x="246397" y="443389"/>
                </a:cubicBezTo>
                <a:cubicBezTo>
                  <a:pt x="222327" y="468726"/>
                  <a:pt x="192135" y="481394"/>
                  <a:pt x="155819" y="481394"/>
                </a:cubicBezTo>
                <a:cubicBezTo>
                  <a:pt x="111902" y="481394"/>
                  <a:pt x="74953" y="464925"/>
                  <a:pt x="44972" y="431988"/>
                </a:cubicBezTo>
                <a:cubicBezTo>
                  <a:pt x="14990" y="399050"/>
                  <a:pt x="0" y="355556"/>
                  <a:pt x="0" y="301505"/>
                </a:cubicBezTo>
                <a:cubicBezTo>
                  <a:pt x="0" y="230563"/>
                  <a:pt x="21324" y="169122"/>
                  <a:pt x="63974" y="117182"/>
                </a:cubicBezTo>
                <a:cubicBezTo>
                  <a:pt x="106624" y="65242"/>
                  <a:pt x="162575" y="26181"/>
                  <a:pt x="231829" y="0"/>
                </a:cubicBezTo>
                <a:close/>
              </a:path>
            </a:pathLst>
          </a:custGeom>
          <a:noFill/>
          <a:ln w="25400">
            <a:solidFill>
              <a:srgbClr val="B8DEFF"/>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600"/>
              </a:spcBef>
            </a:pPr>
            <a:endParaRPr lang="en-US" sz="10000" b="1" i="0">
              <a:latin typeface="+mn-lt"/>
            </a:endParaRPr>
          </a:p>
        </p:txBody>
      </p:sp>
      <p:sp>
        <p:nvSpPr>
          <p:cNvPr id="6" name="Title 1">
            <a:extLst>
              <a:ext uri="{FF2B5EF4-FFF2-40B4-BE49-F238E27FC236}">
                <a16:creationId xmlns:a16="http://schemas.microsoft.com/office/drawing/2014/main" id="{A5204F30-1AF4-524D-A3DC-8D6F9529A61E}"/>
              </a:ext>
            </a:extLst>
          </p:cNvPr>
          <p:cNvSpPr>
            <a:spLocks noGrp="1"/>
          </p:cNvSpPr>
          <p:nvPr>
            <p:ph type="title" hasCustomPrompt="1"/>
          </p:nvPr>
        </p:nvSpPr>
        <p:spPr>
          <a:xfrm>
            <a:off x="773054" y="995363"/>
            <a:ext cx="8086466" cy="4460875"/>
          </a:xfrm>
        </p:spPr>
        <p:txBody>
          <a:bodyPr anchor="ctr" anchorCtr="0"/>
          <a:lstStyle>
            <a:lvl1pPr marL="0" indent="0">
              <a:lnSpc>
                <a:spcPct val="100000"/>
              </a:lnSpc>
              <a:defRPr sz="28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Mauris </a:t>
            </a:r>
            <a:r>
              <a:rPr lang="en-US" err="1"/>
              <a:t>accum</a:t>
            </a:r>
            <a:r>
              <a:rPr lang="en-US"/>
              <a:t> </a:t>
            </a:r>
            <a:r>
              <a:rPr lang="en-US" err="1"/>
              <a:t>san</a:t>
            </a:r>
            <a:r>
              <a:rPr lang="en-US"/>
              <a:t> </a:t>
            </a:r>
            <a:r>
              <a:rPr lang="en-US" err="1"/>
              <a:t>urna</a:t>
            </a:r>
            <a:r>
              <a:rPr lang="en-US"/>
              <a:t>. Sus </a:t>
            </a:r>
            <a:r>
              <a:rPr lang="en-US" err="1"/>
              <a:t>pendisse</a:t>
            </a:r>
            <a:r>
              <a:rPr lang="en-US"/>
              <a:t> </a:t>
            </a:r>
            <a:r>
              <a:rPr lang="en-US" err="1"/>
              <a:t>sem</a:t>
            </a:r>
            <a:r>
              <a:rPr lang="en-US"/>
              <a:t> per semper </a:t>
            </a:r>
            <a:r>
              <a:rPr lang="en-US" err="1"/>
              <a:t>commodo</a:t>
            </a:r>
            <a:r>
              <a:rPr lang="en-US"/>
              <a:t>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nvPr>
        </p:nvSpPr>
        <p:spPr>
          <a:xfrm>
            <a:off x="773056" y="5641514"/>
            <a:ext cx="8086463" cy="347472"/>
          </a:xfrm>
        </p:spPr>
        <p:txBody>
          <a:bodyPr/>
          <a:lstStyle>
            <a:lvl1pPr marL="0" indent="0">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6567366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END">
    <p:bg>
      <p:bgPr>
        <a:solidFill>
          <a:srgbClr val="FFFF00"/>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A65764A-9DB5-E0B9-2854-737204071442}"/>
              </a:ext>
            </a:extLst>
          </p:cNvPr>
          <p:cNvSpPr txBox="1"/>
          <p:nvPr/>
        </p:nvSpPr>
        <p:spPr>
          <a:xfrm>
            <a:off x="208972" y="189623"/>
            <a:ext cx="11774056" cy="6555641"/>
          </a:xfrm>
          <a:prstGeom prst="rect">
            <a:avLst/>
          </a:prstGeom>
          <a:noFill/>
        </p:spPr>
        <p:txBody>
          <a:bodyPr wrap="none" lIns="0" rIns="0" rtlCol="0">
            <a:spAutoFit/>
          </a:bodyPr>
          <a:lstStyle/>
          <a:p>
            <a:pPr algn="ctr">
              <a:spcBef>
                <a:spcPts val="600"/>
              </a:spcBef>
            </a:pPr>
            <a:r>
              <a:rPr lang="en-US" sz="9600" dirty="0">
                <a:solidFill>
                  <a:srgbClr val="00002D"/>
                </a:solidFill>
                <a:latin typeface="+mj-lt"/>
              </a:rPr>
              <a:t>Don’t use this or any </a:t>
            </a:r>
            <a:br>
              <a:rPr lang="en-US" sz="9600" dirty="0">
                <a:solidFill>
                  <a:srgbClr val="00002D"/>
                </a:solidFill>
                <a:latin typeface="+mj-lt"/>
              </a:rPr>
            </a:br>
            <a:r>
              <a:rPr lang="en-US" sz="9600" dirty="0">
                <a:solidFill>
                  <a:srgbClr val="00002D"/>
                </a:solidFill>
                <a:latin typeface="+mj-lt"/>
              </a:rPr>
              <a:t>layouts after this.</a:t>
            </a:r>
            <a:endParaRPr lang="en-US" sz="4400" dirty="0">
              <a:solidFill>
                <a:srgbClr val="00002D"/>
              </a:solidFill>
              <a:latin typeface="+mj-lt"/>
            </a:endParaRPr>
          </a:p>
          <a:p>
            <a:pPr algn="ctr">
              <a:spcBef>
                <a:spcPts val="3600"/>
              </a:spcBef>
            </a:pPr>
            <a:r>
              <a:rPr lang="en-US" sz="6600" dirty="0">
                <a:solidFill>
                  <a:srgbClr val="00002D"/>
                </a:solidFill>
              </a:rPr>
              <a:t>Choose an appropriate </a:t>
            </a:r>
            <a:br>
              <a:rPr lang="en-US" sz="6600" dirty="0">
                <a:solidFill>
                  <a:srgbClr val="00002D"/>
                </a:solidFill>
              </a:rPr>
            </a:br>
            <a:r>
              <a:rPr lang="en-US" sz="6600" dirty="0">
                <a:solidFill>
                  <a:srgbClr val="00002D"/>
                </a:solidFill>
              </a:rPr>
              <a:t>layout from </a:t>
            </a:r>
            <a:br>
              <a:rPr lang="en-US" sz="6600" dirty="0">
                <a:solidFill>
                  <a:srgbClr val="00002D"/>
                </a:solidFill>
              </a:rPr>
            </a:br>
            <a:r>
              <a:rPr lang="en-US" sz="6600" b="1" dirty="0">
                <a:solidFill>
                  <a:srgbClr val="00002D"/>
                </a:solidFill>
              </a:rPr>
              <a:t>Home</a:t>
            </a:r>
            <a:r>
              <a:rPr lang="en-US" sz="6600" dirty="0">
                <a:solidFill>
                  <a:srgbClr val="00002D"/>
                </a:solidFill>
              </a:rPr>
              <a:t> &gt; </a:t>
            </a:r>
            <a:r>
              <a:rPr lang="en-US" sz="6600" b="1" dirty="0">
                <a:solidFill>
                  <a:srgbClr val="00002D"/>
                </a:solidFill>
              </a:rPr>
              <a:t>Layout gallery</a:t>
            </a:r>
            <a:r>
              <a:rPr lang="en-US" sz="6600" dirty="0">
                <a:solidFill>
                  <a:srgbClr val="00002D"/>
                </a:solidFill>
              </a:rPr>
              <a:t>.</a:t>
            </a:r>
          </a:p>
        </p:txBody>
      </p:sp>
      <p:sp>
        <p:nvSpPr>
          <p:cNvPr id="2" name="TextBox 1">
            <a:extLst>
              <a:ext uri="{FF2B5EF4-FFF2-40B4-BE49-F238E27FC236}">
                <a16:creationId xmlns:a16="http://schemas.microsoft.com/office/drawing/2014/main" id="{C79BCB47-00AD-DF01-2171-B288626052B6}"/>
              </a:ext>
            </a:extLst>
          </p:cNvPr>
          <p:cNvSpPr txBox="1"/>
          <p:nvPr/>
        </p:nvSpPr>
        <p:spPr>
          <a:xfrm>
            <a:off x="12346930" y="835909"/>
            <a:ext cx="2668480" cy="2539157"/>
          </a:xfrm>
          <a:prstGeom prst="rect">
            <a:avLst/>
          </a:prstGeom>
          <a:noFill/>
          <a:ln>
            <a:solidFill>
              <a:srgbClr val="707996"/>
            </a:solidFill>
          </a:ln>
        </p:spPr>
        <p:txBody>
          <a:bodyPr wrap="square" lIns="91440" rIns="91440" rtlCol="0">
            <a:spAutoFit/>
          </a:bodyPr>
          <a:lstStyle/>
          <a:p>
            <a:pPr algn="l">
              <a:spcBef>
                <a:spcPts val="600"/>
              </a:spcBef>
            </a:pPr>
            <a:r>
              <a:rPr lang="en-US" sz="1400" dirty="0">
                <a:solidFill>
                  <a:srgbClr val="00002D"/>
                </a:solidFill>
              </a:rPr>
              <a:t>When pasting legacy slides that doesn’t match any of the new layouts, PowerPoint adds it to the end of the layouts and prepends the layout name with a number (</a:t>
            </a:r>
            <a:r>
              <a:rPr lang="en-US" sz="1400" dirty="0" err="1">
                <a:solidFill>
                  <a:srgbClr val="00002D"/>
                </a:solidFill>
              </a:rPr>
              <a:t>1_Title</a:t>
            </a:r>
            <a:r>
              <a:rPr lang="en-US" sz="1400" dirty="0">
                <a:solidFill>
                  <a:srgbClr val="00002D"/>
                </a:solidFill>
              </a:rPr>
              <a:t> Slide, for example). </a:t>
            </a:r>
          </a:p>
          <a:p>
            <a:pPr algn="l">
              <a:spcBef>
                <a:spcPts val="600"/>
              </a:spcBef>
            </a:pPr>
            <a:r>
              <a:rPr lang="en-US" sz="1400" dirty="0">
                <a:solidFill>
                  <a:srgbClr val="00002D"/>
                </a:solidFill>
              </a:rPr>
              <a:t>These “orphaned” layouts should not be used, instead choose from the layouts preceding this one. </a:t>
            </a:r>
          </a:p>
        </p:txBody>
      </p:sp>
    </p:spTree>
    <p:extLst>
      <p:ext uri="{BB962C8B-B14F-4D97-AF65-F5344CB8AC3E}">
        <p14:creationId xmlns:p14="http://schemas.microsoft.com/office/powerpoint/2010/main" val="29959315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20000">
              <a:schemeClr val="bg2"/>
            </a:gs>
            <a:gs pos="100000">
              <a:schemeClr val="accent2"/>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invGray">
          <a:xfrm>
            <a:off x="1371600" y="2149713"/>
            <a:ext cx="8426918" cy="2185214"/>
          </a:xfrm>
          <a:prstGeom prst="bracketPair">
            <a:avLst>
              <a:gd name="adj" fmla="val 0"/>
            </a:avLst>
          </a:prstGeom>
          <a:ln w="101600">
            <a:solidFill>
              <a:schemeClr val="accent3"/>
            </a:solidFill>
          </a:ln>
        </p:spPr>
        <p:txBody>
          <a:bodyPr wrap="square" lIns="228600" tIns="91440" rIns="182880" bIns="731520" anchor="t" anchorCtr="0">
            <a:spAutoFit/>
          </a:bodyPr>
          <a:lstStyle>
            <a:lvl1pPr algn="l">
              <a:defRPr sz="4400"/>
            </a:lvl1pPr>
          </a:lstStyle>
          <a:p>
            <a:r>
              <a:rPr lang="en-US"/>
              <a:t>Click to Add Title; 2 Lines of Copy; 60 Characters Maximum</a:t>
            </a:r>
          </a:p>
        </p:txBody>
      </p:sp>
      <p:sp>
        <p:nvSpPr>
          <p:cNvPr id="3" name="Subtitle 2"/>
          <p:cNvSpPr>
            <a:spLocks noGrp="1"/>
          </p:cNvSpPr>
          <p:nvPr>
            <p:ph type="subTitle" idx="1" hasCustomPrompt="1"/>
          </p:nvPr>
        </p:nvSpPr>
        <p:spPr>
          <a:xfrm>
            <a:off x="1371600" y="3851940"/>
            <a:ext cx="8426919" cy="276999"/>
          </a:xfrm>
        </p:spPr>
        <p:txBody>
          <a:bodyPr wrap="square" lIns="246888" rIns="182880">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b="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685800" y="6199632"/>
            <a:ext cx="7095744" cy="323165"/>
          </a:xfrm>
          <a:prstGeom prst="rect">
            <a:avLst/>
          </a:prstGeom>
          <a:noFill/>
        </p:spPr>
        <p:txBody>
          <a:bodyPr wrap="square" lIns="0" tIns="0" rIns="0" bIns="0" rtlCol="0" anchor="b" anchorCtr="0">
            <a:spAutoFit/>
          </a:bodyPr>
          <a:lstStyle/>
          <a:p>
            <a:r>
              <a:rPr lang="en-US" sz="700"/>
              <a:t>© 2026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800" y="685800"/>
            <a:ext cx="1737435" cy="395448"/>
          </a:xfrm>
          <a:prstGeom prst="rect">
            <a:avLst/>
          </a:prstGeom>
        </p:spPr>
      </p:pic>
    </p:spTree>
    <p:extLst>
      <p:ext uri="{BB962C8B-B14F-4D97-AF65-F5344CB8AC3E}">
        <p14:creationId xmlns:p14="http://schemas.microsoft.com/office/powerpoint/2010/main" val="188736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86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lvl1pPr>
              <a:defRPr b="1" i="0">
                <a:latin typeface="Gartner Sans Semibold" panose="020B0504030402040204" pitchFamily="34" charset="77"/>
              </a:defRPr>
            </a:lvl1pPr>
          </a:lstStyle>
          <a:p>
            <a:r>
              <a:rPr lang="en-US"/>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28850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Pr>
        <a:solidFill>
          <a:srgbClr val="E0F1F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1371600" y="2149713"/>
            <a:ext cx="8426919" cy="2185214"/>
          </a:xfrm>
          <a:prstGeom prst="bracketPair">
            <a:avLst>
              <a:gd name="adj" fmla="val 0"/>
            </a:avLst>
          </a:prstGeom>
          <a:ln w="114300">
            <a:solidFill>
              <a:schemeClr val="accent3"/>
            </a:solidFill>
          </a:ln>
        </p:spPr>
        <p:txBody>
          <a:bodyPr wrap="square" lIns="228600" tIns="91440" rIns="182880" bIns="731520" anchor="t" anchorCtr="0">
            <a:spAutoFit/>
          </a:bodyPr>
          <a:lstStyle>
            <a:lvl1pPr algn="l">
              <a:defRPr sz="4400"/>
            </a:lvl1pPr>
          </a:lstStyle>
          <a:p>
            <a:r>
              <a:rPr lang="en-US"/>
              <a:t>Click to Add Title; 2 Lines of Copy; 60 Characters Maximum</a:t>
            </a:r>
          </a:p>
        </p:txBody>
      </p:sp>
      <p:sp>
        <p:nvSpPr>
          <p:cNvPr id="14" name="TextBox 13">
            <a:extLst>
              <a:ext uri="{FF2B5EF4-FFF2-40B4-BE49-F238E27FC236}">
                <a16:creationId xmlns:a16="http://schemas.microsoft.com/office/drawing/2014/main" id="{BB93A754-CF98-4BEB-BE89-ADF1CF77AA4F}"/>
              </a:ext>
            </a:extLst>
          </p:cNvPr>
          <p:cNvSpPr txBox="1"/>
          <p:nvPr/>
        </p:nvSpPr>
        <p:spPr>
          <a:xfrm>
            <a:off x="685800" y="6199632"/>
            <a:ext cx="7095744" cy="323165"/>
          </a:xfrm>
          <a:prstGeom prst="rect">
            <a:avLst/>
          </a:prstGeom>
          <a:noFill/>
        </p:spPr>
        <p:txBody>
          <a:bodyPr wrap="square" lIns="0" tIns="0" rIns="0" bIns="0" rtlCol="0" anchor="b" anchorCtr="0">
            <a:spAutoFit/>
          </a:bodyPr>
          <a:lstStyle/>
          <a:p>
            <a:r>
              <a:rPr lang="en-US" sz="700"/>
              <a:t>© 2026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p:nvPicPr>
        <p:blipFill>
          <a:blip r:embed="rId2">
            <a:extLst>
              <a:ext uri="{28A0092B-C50C-407E-A947-70E740481C1C}">
                <a14:useLocalDpi xmlns:a14="http://schemas.microsoft.com/office/drawing/2010/main" val="0"/>
              </a:ext>
            </a:extLst>
          </a:blip>
          <a:srcRect t="226" b="226"/>
          <a:stretch/>
        </p:blipFill>
        <p:spPr>
          <a:xfrm>
            <a:off x="685800" y="685800"/>
            <a:ext cx="1736570" cy="395448"/>
          </a:xfrm>
          <a:prstGeom prst="rect">
            <a:avLst/>
          </a:prstGeom>
        </p:spPr>
      </p:pic>
      <p:sp>
        <p:nvSpPr>
          <p:cNvPr id="3" name="Subtitle 2"/>
          <p:cNvSpPr>
            <a:spLocks noGrp="1"/>
          </p:cNvSpPr>
          <p:nvPr>
            <p:ph type="subTitle" idx="1" hasCustomPrompt="1"/>
          </p:nvPr>
        </p:nvSpPr>
        <p:spPr>
          <a:xfrm>
            <a:off x="1371600" y="3851940"/>
            <a:ext cx="8426919" cy="276999"/>
          </a:xfrm>
        </p:spPr>
        <p:txBody>
          <a:bodyPr lIns="246888" rIns="182880">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p>
        </p:txBody>
      </p:sp>
    </p:spTree>
    <p:extLst>
      <p:ext uri="{BB962C8B-B14F-4D97-AF65-F5344CB8AC3E}">
        <p14:creationId xmlns:p14="http://schemas.microsoft.com/office/powerpoint/2010/main" val="2653329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86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01594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35292708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81089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42031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28630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73791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bwMode="ltGray">
          <a:xfrm>
            <a:off x="457200" y="1527048"/>
            <a:ext cx="3337560" cy="4462272"/>
          </a:xfrm>
          <a:solidFill>
            <a:srgbClr val="E0F1FF"/>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bwMode="ltGray">
          <a:xfrm>
            <a:off x="4425696" y="1527048"/>
            <a:ext cx="3337560" cy="4462272"/>
          </a:xfrm>
          <a:solidFill>
            <a:srgbClr val="E0F1FF"/>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bwMode="ltGray">
          <a:xfrm>
            <a:off x="8394192" y="1527048"/>
            <a:ext cx="3337560" cy="4462272"/>
          </a:xfrm>
          <a:solidFill>
            <a:srgbClr val="E0F1FF"/>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03425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0532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bwMode="ltGray">
          <a:xfrm>
            <a:off x="457200" y="1527048"/>
            <a:ext cx="2600706" cy="4462272"/>
          </a:xfrm>
          <a:solidFill>
            <a:srgbClr val="E0F1FF"/>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bwMode="ltGray">
          <a:xfrm>
            <a:off x="3348482" y="1527048"/>
            <a:ext cx="2600706" cy="4462272"/>
          </a:xfrm>
          <a:solidFill>
            <a:srgbClr val="E0F1FF"/>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bwMode="ltGray">
          <a:xfrm>
            <a:off x="6239764" y="1527048"/>
            <a:ext cx="2600706" cy="4462272"/>
          </a:xfrm>
          <a:solidFill>
            <a:srgbClr val="E0F1FF"/>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bwMode="ltGray">
          <a:xfrm>
            <a:off x="9131046" y="1527048"/>
            <a:ext cx="2600706" cy="4462272"/>
          </a:xfrm>
          <a:solidFill>
            <a:srgbClr val="E0F1FF"/>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01333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i="0">
                <a:latin typeface="Gartner Sans Semibold" panose="020B0504030402040204" pitchFamily="34" charset="77"/>
              </a:defRPr>
            </a:lvl1p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40419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E0F1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BAA7-7402-7653-A21A-2C33B981B892}"/>
              </a:ext>
            </a:extLst>
          </p:cNvPr>
          <p:cNvSpPr>
            <a:spLocks noGrp="1"/>
          </p:cNvSpPr>
          <p:nvPr>
            <p:ph type="title" hasCustomPrompt="1"/>
          </p:nvPr>
        </p:nvSpPr>
        <p:spPr bwMode="gray">
          <a:xfrm>
            <a:off x="1365814" y="1590378"/>
            <a:ext cx="5408210" cy="2031326"/>
          </a:xfrm>
          <a:prstGeom prst="bracketPair">
            <a:avLst>
              <a:gd name="adj" fmla="val 0"/>
            </a:avLst>
          </a:prstGeom>
          <a:ln w="101600">
            <a:solidFill>
              <a:schemeClr val="accent3"/>
            </a:solidFill>
          </a:ln>
        </p:spPr>
        <p:txBody>
          <a:bodyPr wrap="square" lIns="228600" rIns="182880" anchor="ctr" anchorCtr="0">
            <a:spAutoFit/>
          </a:bodyPr>
          <a:lstStyle>
            <a:lvl1pPr>
              <a:defRPr sz="4400"/>
            </a:lvl1pPr>
          </a:lstStyle>
          <a:p>
            <a:r>
              <a:rPr lang="en-US"/>
              <a:t>Divider Slide</a:t>
            </a:r>
            <a:br>
              <a:rPr lang="en-US"/>
            </a:br>
            <a:r>
              <a:rPr lang="en-US"/>
              <a:t>30 Characters Max.</a:t>
            </a:r>
            <a:br>
              <a:rPr lang="en-US"/>
            </a:br>
            <a:r>
              <a:rPr lang="en-US"/>
              <a:t>Lorem Ipsum</a:t>
            </a:r>
          </a:p>
        </p:txBody>
      </p:sp>
    </p:spTree>
    <p:extLst>
      <p:ext uri="{BB962C8B-B14F-4D97-AF65-F5344CB8AC3E}">
        <p14:creationId xmlns:p14="http://schemas.microsoft.com/office/powerpoint/2010/main" val="29031706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Left Rai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1F3F689-0EFE-267D-1F38-8A7BB7CF62AF}"/>
              </a:ext>
            </a:extLst>
          </p:cNvPr>
          <p:cNvSpPr/>
          <p:nvPr/>
        </p:nvSpPr>
        <p:spPr bwMode="invGray">
          <a:xfrm>
            <a:off x="-1" y="0"/>
            <a:ext cx="4050792" cy="6858000"/>
          </a:xfrm>
          <a:prstGeom prst="rect">
            <a:avLst/>
          </a:prstGeom>
          <a:gradFill>
            <a:gsLst>
              <a:gs pos="20000">
                <a:srgbClr val="002869"/>
              </a:gs>
              <a:gs pos="100000">
                <a:srgbClr val="0057AF"/>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D9D03778-9F51-35F8-9B55-7FB58E49C224}"/>
              </a:ext>
            </a:extLst>
          </p:cNvPr>
          <p:cNvSpPr>
            <a:spLocks noGrp="1"/>
          </p:cNvSpPr>
          <p:nvPr>
            <p:ph type="title"/>
          </p:nvPr>
        </p:nvSpPr>
        <p:spPr>
          <a:xfrm>
            <a:off x="457200" y="361950"/>
            <a:ext cx="3114675" cy="2051312"/>
          </a:xfrm>
        </p:spPr>
        <p:txBody>
          <a:bodyPr/>
          <a:lstStyle>
            <a:lvl1pPr>
              <a:defRPr>
                <a:solidFill>
                  <a:srgbClr val="FFFFFF"/>
                </a:solidFill>
              </a:defRPr>
            </a:lvl1pPr>
          </a:lstStyle>
          <a:p>
            <a:r>
              <a:rPr lang="en-US"/>
              <a:t>Click to edit Master title style</a:t>
            </a:r>
          </a:p>
        </p:txBody>
      </p:sp>
      <p:sp>
        <p:nvSpPr>
          <p:cNvPr id="4" name="TextBox 3">
            <a:extLst>
              <a:ext uri="{FF2B5EF4-FFF2-40B4-BE49-F238E27FC236}">
                <a16:creationId xmlns:a16="http://schemas.microsoft.com/office/drawing/2014/main" id="{64B9B515-6C0A-2DCC-BDD9-2AEDE0D6D5DB}"/>
              </a:ext>
            </a:extLst>
          </p:cNvPr>
          <p:cNvSpPr txBox="1"/>
          <p:nvPr/>
        </p:nvSpPr>
        <p:spPr>
          <a:xfrm>
            <a:off x="457200" y="6393216"/>
            <a:ext cx="3566160"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rgbClr val="FFFFFF"/>
                </a:solidFill>
              </a:rPr>
              <a:t>‹#›</a:t>
            </a:fld>
            <a:r>
              <a:rPr lang="en-US" sz="700" b="0">
                <a:solidFill>
                  <a:srgbClr val="FFFFFF"/>
                </a:solidFill>
              </a:rPr>
              <a:t>	RESTRICTED © 2026 Gartner, Inc. and/or its affiliates. All rights reserved.</a:t>
            </a:r>
          </a:p>
        </p:txBody>
      </p:sp>
      <p:sp>
        <p:nvSpPr>
          <p:cNvPr id="6" name="Content Placeholder 5">
            <a:extLst>
              <a:ext uri="{FF2B5EF4-FFF2-40B4-BE49-F238E27FC236}">
                <a16:creationId xmlns:a16="http://schemas.microsoft.com/office/drawing/2014/main" id="{D3AB07D3-66B0-EF24-E15D-D61DB03311CA}"/>
              </a:ext>
            </a:extLst>
          </p:cNvPr>
          <p:cNvSpPr>
            <a:spLocks noGrp="1"/>
          </p:cNvSpPr>
          <p:nvPr>
            <p:ph sz="quarter" idx="10"/>
          </p:nvPr>
        </p:nvSpPr>
        <p:spPr>
          <a:xfrm>
            <a:off x="4478482" y="1346200"/>
            <a:ext cx="7256318" cy="45040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9631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1C83FFE-85A9-5C0D-5033-94BE254D3694}"/>
              </a:ext>
            </a:extLst>
          </p:cNvPr>
          <p:cNvSpPr txBox="1"/>
          <p:nvPr/>
        </p:nvSpPr>
        <p:spPr bwMode="ltGray">
          <a:xfrm>
            <a:off x="457200" y="1401620"/>
            <a:ext cx="1425191" cy="1121270"/>
          </a:xfrm>
          <a:custGeom>
            <a:avLst/>
            <a:gdLst/>
            <a:ahLst/>
            <a:cxnLst/>
            <a:rect l="l" t="t" r="r" b="b"/>
            <a:pathLst>
              <a:path w="611876" h="481394">
                <a:moveTo>
                  <a:pt x="561203" y="0"/>
                </a:moveTo>
                <a:lnTo>
                  <a:pt x="611876" y="100080"/>
                </a:lnTo>
                <a:cubicBezTo>
                  <a:pt x="564581" y="124572"/>
                  <a:pt x="531433" y="149697"/>
                  <a:pt x="512430" y="175456"/>
                </a:cubicBezTo>
                <a:cubicBezTo>
                  <a:pt x="502929" y="188335"/>
                  <a:pt x="495803" y="202429"/>
                  <a:pt x="491053" y="217736"/>
                </a:cubicBezTo>
                <a:lnTo>
                  <a:pt x="489521" y="224578"/>
                </a:lnTo>
                <a:lnTo>
                  <a:pt x="492794" y="224228"/>
                </a:lnTo>
                <a:cubicBezTo>
                  <a:pt x="525732" y="224228"/>
                  <a:pt x="553813" y="236474"/>
                  <a:pt x="577038" y="260966"/>
                </a:cubicBezTo>
                <a:cubicBezTo>
                  <a:pt x="600263" y="285458"/>
                  <a:pt x="611876" y="315440"/>
                  <a:pt x="611876" y="350911"/>
                </a:cubicBezTo>
                <a:cubicBezTo>
                  <a:pt x="611876" y="387227"/>
                  <a:pt x="599841" y="418053"/>
                  <a:pt x="575772" y="443389"/>
                </a:cubicBezTo>
                <a:cubicBezTo>
                  <a:pt x="551702" y="468726"/>
                  <a:pt x="521509" y="481394"/>
                  <a:pt x="485194" y="481394"/>
                </a:cubicBezTo>
                <a:cubicBezTo>
                  <a:pt x="441277" y="481394"/>
                  <a:pt x="404328" y="464925"/>
                  <a:pt x="374346" y="431988"/>
                </a:cubicBezTo>
                <a:cubicBezTo>
                  <a:pt x="344365" y="399050"/>
                  <a:pt x="329374" y="355556"/>
                  <a:pt x="329374" y="301505"/>
                </a:cubicBezTo>
                <a:cubicBezTo>
                  <a:pt x="329374" y="230563"/>
                  <a:pt x="350699" y="169122"/>
                  <a:pt x="393349" y="117182"/>
                </a:cubicBezTo>
                <a:cubicBezTo>
                  <a:pt x="435998" y="65242"/>
                  <a:pt x="491950" y="26181"/>
                  <a:pt x="561203" y="0"/>
                </a:cubicBezTo>
                <a:close/>
                <a:moveTo>
                  <a:pt x="231829" y="0"/>
                </a:moveTo>
                <a:lnTo>
                  <a:pt x="282502" y="100080"/>
                </a:lnTo>
                <a:cubicBezTo>
                  <a:pt x="235207" y="124572"/>
                  <a:pt x="202058" y="149697"/>
                  <a:pt x="183056" y="175456"/>
                </a:cubicBezTo>
                <a:cubicBezTo>
                  <a:pt x="173555" y="188335"/>
                  <a:pt x="166429" y="202429"/>
                  <a:pt x="161678" y="217736"/>
                </a:cubicBezTo>
                <a:lnTo>
                  <a:pt x="160146" y="224578"/>
                </a:lnTo>
                <a:lnTo>
                  <a:pt x="163420" y="224228"/>
                </a:lnTo>
                <a:cubicBezTo>
                  <a:pt x="196357" y="224228"/>
                  <a:pt x="224439" y="236474"/>
                  <a:pt x="247664" y="260966"/>
                </a:cubicBezTo>
                <a:cubicBezTo>
                  <a:pt x="270889" y="285458"/>
                  <a:pt x="282501" y="315440"/>
                  <a:pt x="282502" y="350911"/>
                </a:cubicBezTo>
                <a:cubicBezTo>
                  <a:pt x="282501" y="387227"/>
                  <a:pt x="270467" y="418053"/>
                  <a:pt x="246397" y="443389"/>
                </a:cubicBezTo>
                <a:cubicBezTo>
                  <a:pt x="222327" y="468726"/>
                  <a:pt x="192135" y="481394"/>
                  <a:pt x="155819" y="481394"/>
                </a:cubicBezTo>
                <a:cubicBezTo>
                  <a:pt x="111902" y="481394"/>
                  <a:pt x="74953" y="464925"/>
                  <a:pt x="44972" y="431988"/>
                </a:cubicBezTo>
                <a:cubicBezTo>
                  <a:pt x="14990" y="399050"/>
                  <a:pt x="0" y="355556"/>
                  <a:pt x="0" y="301505"/>
                </a:cubicBezTo>
                <a:cubicBezTo>
                  <a:pt x="0" y="230563"/>
                  <a:pt x="21324" y="169122"/>
                  <a:pt x="63974" y="117182"/>
                </a:cubicBezTo>
                <a:cubicBezTo>
                  <a:pt x="106624" y="65242"/>
                  <a:pt x="162575" y="26181"/>
                  <a:pt x="231829" y="0"/>
                </a:cubicBezTo>
                <a:close/>
              </a:path>
            </a:pathLst>
          </a:custGeom>
          <a:noFill/>
          <a:ln w="25400">
            <a:solidFill>
              <a:srgbClr val="B8DEFF"/>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600"/>
              </a:spcBef>
            </a:pPr>
            <a:endParaRPr lang="en-US" sz="10000" b="1" i="0">
              <a:latin typeface="+mn-lt"/>
            </a:endParaRPr>
          </a:p>
        </p:txBody>
      </p:sp>
      <p:sp>
        <p:nvSpPr>
          <p:cNvPr id="2" name="Title 1">
            <a:extLst>
              <a:ext uri="{FF2B5EF4-FFF2-40B4-BE49-F238E27FC236}">
                <a16:creationId xmlns:a16="http://schemas.microsoft.com/office/drawing/2014/main" id="{8B478971-A225-4A64-8E00-AA9C8577611D}"/>
              </a:ext>
            </a:extLst>
          </p:cNvPr>
          <p:cNvSpPr>
            <a:spLocks noGrp="1"/>
          </p:cNvSpPr>
          <p:nvPr>
            <p:ph type="title" hasCustomPrompt="1"/>
          </p:nvPr>
        </p:nvSpPr>
        <p:spPr>
          <a:xfrm>
            <a:off x="773056" y="1009268"/>
            <a:ext cx="5718415" cy="4476115"/>
          </a:xfrm>
        </p:spPr>
        <p:txBody>
          <a:bodyPr anchor="ctr" anchorCtr="0"/>
          <a:lstStyle>
            <a:lvl1pPr marL="0" indent="0">
              <a:lnSpc>
                <a:spcPct val="100000"/>
              </a:lnSpc>
              <a:defRPr sz="2800">
                <a:latin typeface="+mj-lt"/>
              </a:defRPr>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Mauris </a:t>
            </a:r>
            <a:r>
              <a:rPr lang="en-US" err="1"/>
              <a:t>accum</a:t>
            </a:r>
            <a:r>
              <a:rPr lang="en-US"/>
              <a:t> </a:t>
            </a:r>
            <a:r>
              <a:rPr lang="en-US" err="1"/>
              <a:t>san</a:t>
            </a:r>
            <a:r>
              <a:rPr lang="en-US"/>
              <a:t> </a:t>
            </a:r>
            <a:r>
              <a:rPr lang="en-US" err="1"/>
              <a:t>urna</a:t>
            </a:r>
            <a:r>
              <a:rPr lang="en-US"/>
              <a:t>. Sus </a:t>
            </a:r>
            <a:r>
              <a:rPr lang="en-US" err="1"/>
              <a:t>pendisse</a:t>
            </a:r>
            <a:r>
              <a:rPr lang="en-US"/>
              <a:t> </a:t>
            </a:r>
            <a:r>
              <a:rPr lang="en-US" err="1"/>
              <a:t>sem</a:t>
            </a:r>
            <a:r>
              <a:rPr lang="en-US"/>
              <a:t> per semper </a:t>
            </a:r>
            <a:r>
              <a:rPr lang="en-US" err="1"/>
              <a:t>commodo</a:t>
            </a:r>
            <a:r>
              <a:rPr lang="en-US"/>
              <a:t>.”</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nvPr>
        </p:nvSpPr>
        <p:spPr>
          <a:xfrm>
            <a:off x="773056" y="5641514"/>
            <a:ext cx="5718415" cy="347472"/>
          </a:xfrm>
        </p:spPr>
        <p:txBody>
          <a:bodyPr/>
          <a:lstStyle>
            <a:lvl1pPr marL="0" indent="0">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3928" y="1346199"/>
            <a:ext cx="4690872" cy="429768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8793129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BC41137-E6C9-A053-8403-388C27EB8CE1}"/>
              </a:ext>
            </a:extLst>
          </p:cNvPr>
          <p:cNvSpPr txBox="1"/>
          <p:nvPr/>
        </p:nvSpPr>
        <p:spPr bwMode="ltGray">
          <a:xfrm>
            <a:off x="457200" y="1401620"/>
            <a:ext cx="1425191" cy="1121270"/>
          </a:xfrm>
          <a:custGeom>
            <a:avLst/>
            <a:gdLst/>
            <a:ahLst/>
            <a:cxnLst/>
            <a:rect l="l" t="t" r="r" b="b"/>
            <a:pathLst>
              <a:path w="611876" h="481394">
                <a:moveTo>
                  <a:pt x="561203" y="0"/>
                </a:moveTo>
                <a:lnTo>
                  <a:pt x="611876" y="100080"/>
                </a:lnTo>
                <a:cubicBezTo>
                  <a:pt x="564581" y="124572"/>
                  <a:pt x="531433" y="149697"/>
                  <a:pt x="512430" y="175456"/>
                </a:cubicBezTo>
                <a:cubicBezTo>
                  <a:pt x="502929" y="188335"/>
                  <a:pt x="495803" y="202429"/>
                  <a:pt x="491053" y="217736"/>
                </a:cubicBezTo>
                <a:lnTo>
                  <a:pt x="489521" y="224578"/>
                </a:lnTo>
                <a:lnTo>
                  <a:pt x="492794" y="224228"/>
                </a:lnTo>
                <a:cubicBezTo>
                  <a:pt x="525732" y="224228"/>
                  <a:pt x="553813" y="236474"/>
                  <a:pt x="577038" y="260966"/>
                </a:cubicBezTo>
                <a:cubicBezTo>
                  <a:pt x="600263" y="285458"/>
                  <a:pt x="611876" y="315440"/>
                  <a:pt x="611876" y="350911"/>
                </a:cubicBezTo>
                <a:cubicBezTo>
                  <a:pt x="611876" y="387227"/>
                  <a:pt x="599841" y="418053"/>
                  <a:pt x="575772" y="443389"/>
                </a:cubicBezTo>
                <a:cubicBezTo>
                  <a:pt x="551702" y="468726"/>
                  <a:pt x="521509" y="481394"/>
                  <a:pt x="485194" y="481394"/>
                </a:cubicBezTo>
                <a:cubicBezTo>
                  <a:pt x="441277" y="481394"/>
                  <a:pt x="404328" y="464925"/>
                  <a:pt x="374346" y="431988"/>
                </a:cubicBezTo>
                <a:cubicBezTo>
                  <a:pt x="344365" y="399050"/>
                  <a:pt x="329374" y="355556"/>
                  <a:pt x="329374" y="301505"/>
                </a:cubicBezTo>
                <a:cubicBezTo>
                  <a:pt x="329374" y="230563"/>
                  <a:pt x="350699" y="169122"/>
                  <a:pt x="393349" y="117182"/>
                </a:cubicBezTo>
                <a:cubicBezTo>
                  <a:pt x="435998" y="65242"/>
                  <a:pt x="491950" y="26181"/>
                  <a:pt x="561203" y="0"/>
                </a:cubicBezTo>
                <a:close/>
                <a:moveTo>
                  <a:pt x="231829" y="0"/>
                </a:moveTo>
                <a:lnTo>
                  <a:pt x="282502" y="100080"/>
                </a:lnTo>
                <a:cubicBezTo>
                  <a:pt x="235207" y="124572"/>
                  <a:pt x="202058" y="149697"/>
                  <a:pt x="183056" y="175456"/>
                </a:cubicBezTo>
                <a:cubicBezTo>
                  <a:pt x="173555" y="188335"/>
                  <a:pt x="166429" y="202429"/>
                  <a:pt x="161678" y="217736"/>
                </a:cubicBezTo>
                <a:lnTo>
                  <a:pt x="160146" y="224578"/>
                </a:lnTo>
                <a:lnTo>
                  <a:pt x="163420" y="224228"/>
                </a:lnTo>
                <a:cubicBezTo>
                  <a:pt x="196357" y="224228"/>
                  <a:pt x="224439" y="236474"/>
                  <a:pt x="247664" y="260966"/>
                </a:cubicBezTo>
                <a:cubicBezTo>
                  <a:pt x="270889" y="285458"/>
                  <a:pt x="282501" y="315440"/>
                  <a:pt x="282502" y="350911"/>
                </a:cubicBezTo>
                <a:cubicBezTo>
                  <a:pt x="282501" y="387227"/>
                  <a:pt x="270467" y="418053"/>
                  <a:pt x="246397" y="443389"/>
                </a:cubicBezTo>
                <a:cubicBezTo>
                  <a:pt x="222327" y="468726"/>
                  <a:pt x="192135" y="481394"/>
                  <a:pt x="155819" y="481394"/>
                </a:cubicBezTo>
                <a:cubicBezTo>
                  <a:pt x="111902" y="481394"/>
                  <a:pt x="74953" y="464925"/>
                  <a:pt x="44972" y="431988"/>
                </a:cubicBezTo>
                <a:cubicBezTo>
                  <a:pt x="14990" y="399050"/>
                  <a:pt x="0" y="355556"/>
                  <a:pt x="0" y="301505"/>
                </a:cubicBezTo>
                <a:cubicBezTo>
                  <a:pt x="0" y="230563"/>
                  <a:pt x="21324" y="169122"/>
                  <a:pt x="63974" y="117182"/>
                </a:cubicBezTo>
                <a:cubicBezTo>
                  <a:pt x="106624" y="65242"/>
                  <a:pt x="162575" y="26181"/>
                  <a:pt x="231829" y="0"/>
                </a:cubicBezTo>
                <a:close/>
              </a:path>
            </a:pathLst>
          </a:custGeom>
          <a:noFill/>
          <a:ln w="25400">
            <a:solidFill>
              <a:srgbClr val="B8DEFF"/>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600"/>
              </a:spcBef>
            </a:pPr>
            <a:endParaRPr lang="en-US" sz="10000" b="1" i="0">
              <a:latin typeface="+mn-lt"/>
            </a:endParaRPr>
          </a:p>
        </p:txBody>
      </p:sp>
      <p:sp>
        <p:nvSpPr>
          <p:cNvPr id="6" name="Title 1">
            <a:extLst>
              <a:ext uri="{FF2B5EF4-FFF2-40B4-BE49-F238E27FC236}">
                <a16:creationId xmlns:a16="http://schemas.microsoft.com/office/drawing/2014/main" id="{A5204F30-1AF4-524D-A3DC-8D6F9529A61E}"/>
              </a:ext>
            </a:extLst>
          </p:cNvPr>
          <p:cNvSpPr>
            <a:spLocks noGrp="1"/>
          </p:cNvSpPr>
          <p:nvPr>
            <p:ph type="title" hasCustomPrompt="1"/>
          </p:nvPr>
        </p:nvSpPr>
        <p:spPr>
          <a:xfrm>
            <a:off x="773054" y="995363"/>
            <a:ext cx="8086466" cy="4460875"/>
          </a:xfrm>
        </p:spPr>
        <p:txBody>
          <a:bodyPr anchor="ctr" anchorCtr="0"/>
          <a:lstStyle>
            <a:lvl1pPr marL="0" indent="0">
              <a:lnSpc>
                <a:spcPct val="100000"/>
              </a:lnSpc>
              <a:defRPr sz="28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Mauris </a:t>
            </a:r>
            <a:r>
              <a:rPr lang="en-US" err="1"/>
              <a:t>accum</a:t>
            </a:r>
            <a:r>
              <a:rPr lang="en-US"/>
              <a:t> </a:t>
            </a:r>
            <a:r>
              <a:rPr lang="en-US" err="1"/>
              <a:t>san</a:t>
            </a:r>
            <a:r>
              <a:rPr lang="en-US"/>
              <a:t> </a:t>
            </a:r>
            <a:r>
              <a:rPr lang="en-US" err="1"/>
              <a:t>urna</a:t>
            </a:r>
            <a:r>
              <a:rPr lang="en-US"/>
              <a:t>. Sus </a:t>
            </a:r>
            <a:r>
              <a:rPr lang="en-US" err="1"/>
              <a:t>pendisse</a:t>
            </a:r>
            <a:r>
              <a:rPr lang="en-US"/>
              <a:t> </a:t>
            </a:r>
            <a:r>
              <a:rPr lang="en-US" err="1"/>
              <a:t>sem</a:t>
            </a:r>
            <a:r>
              <a:rPr lang="en-US"/>
              <a:t> per semper </a:t>
            </a:r>
            <a:r>
              <a:rPr lang="en-US" err="1"/>
              <a:t>commodo</a:t>
            </a:r>
            <a:r>
              <a:rPr lang="en-US"/>
              <a:t>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nvPr>
        </p:nvSpPr>
        <p:spPr>
          <a:xfrm>
            <a:off x="773056" y="5641514"/>
            <a:ext cx="8086463" cy="347472"/>
          </a:xfrm>
        </p:spPr>
        <p:txBody>
          <a:bodyPr/>
          <a:lstStyle>
            <a:lvl1pPr marL="0" indent="0">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13509756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END">
    <p:bg>
      <p:bgPr>
        <a:solidFill>
          <a:srgbClr val="FFFF00"/>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A65764A-9DB5-E0B9-2854-737204071442}"/>
              </a:ext>
            </a:extLst>
          </p:cNvPr>
          <p:cNvSpPr txBox="1"/>
          <p:nvPr/>
        </p:nvSpPr>
        <p:spPr>
          <a:xfrm>
            <a:off x="208972" y="189623"/>
            <a:ext cx="11774056" cy="6555641"/>
          </a:xfrm>
          <a:prstGeom prst="rect">
            <a:avLst/>
          </a:prstGeom>
          <a:noFill/>
        </p:spPr>
        <p:txBody>
          <a:bodyPr wrap="none" lIns="0" rIns="0" rtlCol="0">
            <a:spAutoFit/>
          </a:bodyPr>
          <a:lstStyle/>
          <a:p>
            <a:pPr algn="ctr">
              <a:spcBef>
                <a:spcPts val="600"/>
              </a:spcBef>
            </a:pPr>
            <a:r>
              <a:rPr lang="en-US" sz="9600" dirty="0">
                <a:solidFill>
                  <a:srgbClr val="00002D"/>
                </a:solidFill>
                <a:latin typeface="+mj-lt"/>
              </a:rPr>
              <a:t>Don’t use this or any </a:t>
            </a:r>
            <a:br>
              <a:rPr lang="en-US" sz="9600" dirty="0">
                <a:solidFill>
                  <a:srgbClr val="00002D"/>
                </a:solidFill>
                <a:latin typeface="+mj-lt"/>
              </a:rPr>
            </a:br>
            <a:r>
              <a:rPr lang="en-US" sz="9600" dirty="0">
                <a:solidFill>
                  <a:srgbClr val="00002D"/>
                </a:solidFill>
                <a:latin typeface="+mj-lt"/>
              </a:rPr>
              <a:t>layouts after this.</a:t>
            </a:r>
            <a:endParaRPr lang="en-US" sz="4400" dirty="0">
              <a:solidFill>
                <a:srgbClr val="00002D"/>
              </a:solidFill>
              <a:latin typeface="+mj-lt"/>
            </a:endParaRPr>
          </a:p>
          <a:p>
            <a:pPr algn="ctr">
              <a:spcBef>
                <a:spcPts val="3600"/>
              </a:spcBef>
            </a:pPr>
            <a:r>
              <a:rPr lang="en-US" sz="6600" dirty="0">
                <a:solidFill>
                  <a:srgbClr val="00002D"/>
                </a:solidFill>
              </a:rPr>
              <a:t>Choose an appropriate </a:t>
            </a:r>
            <a:br>
              <a:rPr lang="en-US" sz="6600" dirty="0">
                <a:solidFill>
                  <a:srgbClr val="00002D"/>
                </a:solidFill>
              </a:rPr>
            </a:br>
            <a:r>
              <a:rPr lang="en-US" sz="6600" dirty="0">
                <a:solidFill>
                  <a:srgbClr val="00002D"/>
                </a:solidFill>
              </a:rPr>
              <a:t>layout from </a:t>
            </a:r>
            <a:br>
              <a:rPr lang="en-US" sz="6600" dirty="0">
                <a:solidFill>
                  <a:srgbClr val="00002D"/>
                </a:solidFill>
              </a:rPr>
            </a:br>
            <a:r>
              <a:rPr lang="en-US" sz="6600" b="1" dirty="0">
                <a:solidFill>
                  <a:srgbClr val="00002D"/>
                </a:solidFill>
              </a:rPr>
              <a:t>Home</a:t>
            </a:r>
            <a:r>
              <a:rPr lang="en-US" sz="6600" dirty="0">
                <a:solidFill>
                  <a:srgbClr val="00002D"/>
                </a:solidFill>
              </a:rPr>
              <a:t> &gt; </a:t>
            </a:r>
            <a:r>
              <a:rPr lang="en-US" sz="6600" b="1" dirty="0">
                <a:solidFill>
                  <a:srgbClr val="00002D"/>
                </a:solidFill>
              </a:rPr>
              <a:t>Layout gallery</a:t>
            </a:r>
            <a:r>
              <a:rPr lang="en-US" sz="6600" dirty="0">
                <a:solidFill>
                  <a:srgbClr val="00002D"/>
                </a:solidFill>
              </a:rPr>
              <a:t>.</a:t>
            </a:r>
          </a:p>
        </p:txBody>
      </p:sp>
      <p:sp>
        <p:nvSpPr>
          <p:cNvPr id="4" name="TextBox 3">
            <a:extLst>
              <a:ext uri="{FF2B5EF4-FFF2-40B4-BE49-F238E27FC236}">
                <a16:creationId xmlns:a16="http://schemas.microsoft.com/office/drawing/2014/main" id="{AA84E2C2-7CA7-DF36-F217-BE27B9E2B7F8}"/>
              </a:ext>
            </a:extLst>
          </p:cNvPr>
          <p:cNvSpPr txBox="1"/>
          <p:nvPr/>
        </p:nvSpPr>
        <p:spPr>
          <a:xfrm>
            <a:off x="12346930" y="835909"/>
            <a:ext cx="2668480" cy="2539157"/>
          </a:xfrm>
          <a:prstGeom prst="rect">
            <a:avLst/>
          </a:prstGeom>
          <a:noFill/>
          <a:ln>
            <a:solidFill>
              <a:srgbClr val="707996"/>
            </a:solidFill>
          </a:ln>
        </p:spPr>
        <p:txBody>
          <a:bodyPr wrap="square" lIns="91440" rIns="91440" rtlCol="0">
            <a:spAutoFit/>
          </a:bodyPr>
          <a:lstStyle/>
          <a:p>
            <a:pPr algn="l">
              <a:spcBef>
                <a:spcPts val="600"/>
              </a:spcBef>
            </a:pPr>
            <a:r>
              <a:rPr lang="en-US" sz="1400" dirty="0">
                <a:solidFill>
                  <a:srgbClr val="00002D"/>
                </a:solidFill>
              </a:rPr>
              <a:t>When pasting legacy slides that doesn’t match any of the new layouts, PowerPoint adds it to the end of the layouts and prepends the layout name with a number (</a:t>
            </a:r>
            <a:r>
              <a:rPr lang="en-US" sz="1400" dirty="0" err="1">
                <a:solidFill>
                  <a:srgbClr val="00002D"/>
                </a:solidFill>
              </a:rPr>
              <a:t>1_Title</a:t>
            </a:r>
            <a:r>
              <a:rPr lang="en-US" sz="1400" dirty="0">
                <a:solidFill>
                  <a:srgbClr val="00002D"/>
                </a:solidFill>
              </a:rPr>
              <a:t> Slide, for example). </a:t>
            </a:r>
          </a:p>
          <a:p>
            <a:pPr algn="l">
              <a:spcBef>
                <a:spcPts val="600"/>
              </a:spcBef>
            </a:pPr>
            <a:r>
              <a:rPr lang="en-US" sz="1400" dirty="0">
                <a:solidFill>
                  <a:srgbClr val="00002D"/>
                </a:solidFill>
              </a:rPr>
              <a:t>These “orphaned” layouts should not be used, instead choose from the layouts preceding this one. </a:t>
            </a:r>
          </a:p>
        </p:txBody>
      </p:sp>
    </p:spTree>
    <p:extLst>
      <p:ext uri="{BB962C8B-B14F-4D97-AF65-F5344CB8AC3E}">
        <p14:creationId xmlns:p14="http://schemas.microsoft.com/office/powerpoint/2010/main" val="3323325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20000">
              <a:schemeClr val="bg2"/>
            </a:gs>
            <a:gs pos="100000">
              <a:schemeClr val="accent2"/>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invGray">
          <a:xfrm>
            <a:off x="1371600" y="2149713"/>
            <a:ext cx="8426919" cy="2185214"/>
          </a:xfrm>
          <a:prstGeom prst="bracketPair">
            <a:avLst>
              <a:gd name="adj" fmla="val 0"/>
            </a:avLst>
          </a:prstGeom>
          <a:ln w="101600">
            <a:solidFill>
              <a:schemeClr val="accent3"/>
            </a:solidFill>
          </a:ln>
        </p:spPr>
        <p:txBody>
          <a:bodyPr lIns="228600" tIns="91440" rIns="182880" bIns="731520" anchor="t" anchorCtr="0">
            <a:spAutoFit/>
          </a:bodyPr>
          <a:lstStyle>
            <a:lvl1pPr algn="l">
              <a:defRPr sz="4400"/>
            </a:lvl1pPr>
          </a:lstStyle>
          <a:p>
            <a:r>
              <a:rPr lang="en-US"/>
              <a:t>Click to Add Title; 2 Lines of Copy; 60 Characters Maximum</a:t>
            </a:r>
          </a:p>
        </p:txBody>
      </p:sp>
      <p:sp>
        <p:nvSpPr>
          <p:cNvPr id="3" name="Subtitle 2"/>
          <p:cNvSpPr>
            <a:spLocks noGrp="1"/>
          </p:cNvSpPr>
          <p:nvPr>
            <p:ph type="subTitle" idx="1" hasCustomPrompt="1"/>
          </p:nvPr>
        </p:nvSpPr>
        <p:spPr>
          <a:xfrm>
            <a:off x="1371600" y="3851940"/>
            <a:ext cx="8426919" cy="276999"/>
          </a:xfrm>
        </p:spPr>
        <p:txBody>
          <a:bodyPr lIns="246888" rIns="182880">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685800" y="6199632"/>
            <a:ext cx="7095744" cy="323165"/>
          </a:xfrm>
          <a:prstGeom prst="rect">
            <a:avLst/>
          </a:prstGeom>
          <a:noFill/>
        </p:spPr>
        <p:txBody>
          <a:bodyPr wrap="square" lIns="0" tIns="0" rIns="0" bIns="0" rtlCol="0" anchor="b" anchorCtr="0">
            <a:spAutoFit/>
          </a:bodyPr>
          <a:lstStyle/>
          <a:p>
            <a:r>
              <a:rPr lang="en-US" sz="700"/>
              <a:t>© 2026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800" y="685800"/>
            <a:ext cx="1737435" cy="395448"/>
          </a:xfrm>
          <a:prstGeom prst="rect">
            <a:avLst/>
          </a:prstGeom>
        </p:spPr>
      </p:pic>
    </p:spTree>
    <p:extLst>
      <p:ext uri="{BB962C8B-B14F-4D97-AF65-F5344CB8AC3E}">
        <p14:creationId xmlns:p14="http://schemas.microsoft.com/office/powerpoint/2010/main" val="33317804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86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1371600" y="2149713"/>
            <a:ext cx="8426919" cy="2185214"/>
          </a:xfrm>
          <a:prstGeom prst="bracketPair">
            <a:avLst>
              <a:gd name="adj" fmla="val 0"/>
            </a:avLst>
          </a:prstGeom>
          <a:ln w="114300">
            <a:solidFill>
              <a:schemeClr val="accent3"/>
            </a:solidFill>
          </a:ln>
        </p:spPr>
        <p:txBody>
          <a:bodyPr lIns="228600" tIns="91440" rIns="182880" bIns="731520" anchor="t" anchorCtr="0">
            <a:spAutoFit/>
          </a:bodyPr>
          <a:lstStyle>
            <a:lvl1pPr algn="l">
              <a:defRPr sz="4400"/>
            </a:lvl1pPr>
          </a:lstStyle>
          <a:p>
            <a:r>
              <a:rPr lang="en-US"/>
              <a:t>Click to Add Title; 2 Lines of Copy; 60 Characters Maximum</a:t>
            </a:r>
          </a:p>
        </p:txBody>
      </p:sp>
      <p:sp>
        <p:nvSpPr>
          <p:cNvPr id="14" name="TextBox 13">
            <a:extLst>
              <a:ext uri="{FF2B5EF4-FFF2-40B4-BE49-F238E27FC236}">
                <a16:creationId xmlns:a16="http://schemas.microsoft.com/office/drawing/2014/main" id="{BB93A754-CF98-4BEB-BE89-ADF1CF77AA4F}"/>
              </a:ext>
            </a:extLst>
          </p:cNvPr>
          <p:cNvSpPr txBox="1"/>
          <p:nvPr/>
        </p:nvSpPr>
        <p:spPr>
          <a:xfrm>
            <a:off x="685800" y="6199632"/>
            <a:ext cx="7095744" cy="323165"/>
          </a:xfrm>
          <a:prstGeom prst="rect">
            <a:avLst/>
          </a:prstGeom>
          <a:noFill/>
        </p:spPr>
        <p:txBody>
          <a:bodyPr wrap="square" lIns="0" tIns="0" rIns="0" bIns="0" rtlCol="0" anchor="b" anchorCtr="0">
            <a:spAutoFit/>
          </a:bodyPr>
          <a:lstStyle/>
          <a:p>
            <a:r>
              <a:rPr lang="en-US" sz="700"/>
              <a:t>© 2026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p:nvPicPr>
        <p:blipFill>
          <a:blip r:embed="rId2">
            <a:extLst>
              <a:ext uri="{28A0092B-C50C-407E-A947-70E740481C1C}">
                <a14:useLocalDpi xmlns:a14="http://schemas.microsoft.com/office/drawing/2010/main" val="0"/>
              </a:ext>
            </a:extLst>
          </a:blip>
          <a:srcRect t="217" b="217"/>
          <a:stretch/>
        </p:blipFill>
        <p:spPr>
          <a:xfrm>
            <a:off x="685800" y="685800"/>
            <a:ext cx="1736281" cy="395448"/>
          </a:xfrm>
          <a:prstGeom prst="rect">
            <a:avLst/>
          </a:prstGeom>
        </p:spPr>
      </p:pic>
      <p:sp>
        <p:nvSpPr>
          <p:cNvPr id="3" name="Subtitle 2"/>
          <p:cNvSpPr>
            <a:spLocks noGrp="1"/>
          </p:cNvSpPr>
          <p:nvPr>
            <p:ph type="subTitle" idx="1" hasCustomPrompt="1"/>
          </p:nvPr>
        </p:nvSpPr>
        <p:spPr>
          <a:xfrm>
            <a:off x="1371600" y="3851940"/>
            <a:ext cx="8426919" cy="276999"/>
          </a:xfrm>
        </p:spPr>
        <p:txBody>
          <a:bodyPr lIns="246888" rIns="182880">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p>
        </p:txBody>
      </p:sp>
    </p:spTree>
    <p:extLst>
      <p:ext uri="{BB962C8B-B14F-4D97-AF65-F5344CB8AC3E}">
        <p14:creationId xmlns:p14="http://schemas.microsoft.com/office/powerpoint/2010/main" val="30276258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86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53233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22530540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29365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i="0">
                <a:latin typeface="Gartner Sans Semibold" panose="020B0504030402040204" pitchFamily="34" charset="77"/>
              </a:defRPr>
            </a:lvl1p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783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92212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58154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61117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bwMode="ltGray">
          <a:xfrm>
            <a:off x="457200" y="1527048"/>
            <a:ext cx="3337560" cy="4462272"/>
          </a:xfrm>
          <a:solidFill>
            <a:srgbClr val="1A3E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bwMode="ltGray">
          <a:xfrm>
            <a:off x="4425696" y="1527048"/>
            <a:ext cx="3337560" cy="4462272"/>
          </a:xfrm>
          <a:solidFill>
            <a:srgbClr val="1A3E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bwMode="ltGray">
          <a:xfrm>
            <a:off x="8394192" y="1527048"/>
            <a:ext cx="3337560" cy="4462272"/>
          </a:xfrm>
          <a:solidFill>
            <a:srgbClr val="1A3E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51492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03764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bwMode="ltGray">
          <a:xfrm>
            <a:off x="457200" y="1527048"/>
            <a:ext cx="2600706" cy="4462272"/>
          </a:xfrm>
          <a:solidFill>
            <a:srgbClr val="1A3E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bwMode="ltGray">
          <a:xfrm>
            <a:off x="3348482" y="1527048"/>
            <a:ext cx="2600706" cy="4462272"/>
          </a:xfrm>
          <a:solidFill>
            <a:srgbClr val="1A3E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bwMode="ltGray">
          <a:xfrm>
            <a:off x="6239764" y="1527048"/>
            <a:ext cx="2600706" cy="4462272"/>
          </a:xfrm>
          <a:solidFill>
            <a:srgbClr val="1A3E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bwMode="ltGray">
          <a:xfrm>
            <a:off x="9131046" y="1527048"/>
            <a:ext cx="2600706" cy="4462272"/>
          </a:xfrm>
          <a:solidFill>
            <a:srgbClr val="1A3E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74650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BAA7-7402-7653-A21A-2C33B981B892}"/>
              </a:ext>
            </a:extLst>
          </p:cNvPr>
          <p:cNvSpPr>
            <a:spLocks noGrp="1"/>
          </p:cNvSpPr>
          <p:nvPr>
            <p:ph type="title" hasCustomPrompt="1"/>
          </p:nvPr>
        </p:nvSpPr>
        <p:spPr bwMode="gray">
          <a:xfrm>
            <a:off x="1365814" y="1590378"/>
            <a:ext cx="5408210" cy="2031326"/>
          </a:xfrm>
          <a:prstGeom prst="bracketPair">
            <a:avLst>
              <a:gd name="adj" fmla="val 0"/>
            </a:avLst>
          </a:prstGeom>
          <a:ln w="101600">
            <a:solidFill>
              <a:schemeClr val="accent3"/>
            </a:solidFill>
          </a:ln>
        </p:spPr>
        <p:txBody>
          <a:bodyPr wrap="square" lIns="228600" rIns="182880" anchor="ctr" anchorCtr="0">
            <a:spAutoFit/>
          </a:bodyPr>
          <a:lstStyle>
            <a:lvl1pPr>
              <a:defRPr sz="4400"/>
            </a:lvl1pPr>
          </a:lstStyle>
          <a:p>
            <a:r>
              <a:rPr lang="en-US"/>
              <a:t>Divider Slide</a:t>
            </a:r>
            <a:br>
              <a:rPr lang="en-US"/>
            </a:br>
            <a:r>
              <a:rPr lang="en-US"/>
              <a:t>30 Characters Max.</a:t>
            </a:r>
            <a:br>
              <a:rPr lang="en-US"/>
            </a:br>
            <a:r>
              <a:rPr lang="en-US"/>
              <a:t>Lorem Ipsum</a:t>
            </a:r>
          </a:p>
        </p:txBody>
      </p:sp>
    </p:spTree>
    <p:extLst>
      <p:ext uri="{BB962C8B-B14F-4D97-AF65-F5344CB8AC3E}">
        <p14:creationId xmlns:p14="http://schemas.microsoft.com/office/powerpoint/2010/main" val="23893660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Left Rai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1F3F689-0EFE-267D-1F38-8A7BB7CF62AF}"/>
              </a:ext>
            </a:extLst>
          </p:cNvPr>
          <p:cNvSpPr/>
          <p:nvPr/>
        </p:nvSpPr>
        <p:spPr bwMode="invGray">
          <a:xfrm>
            <a:off x="-1" y="0"/>
            <a:ext cx="4050792" cy="6858000"/>
          </a:xfrm>
          <a:prstGeom prst="rect">
            <a:avLst/>
          </a:prstGeom>
          <a:gradFill>
            <a:gsLst>
              <a:gs pos="0">
                <a:schemeClr val="accent2"/>
              </a:gs>
              <a:gs pos="80000">
                <a:schemeClr val="accent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D9D03778-9F51-35F8-9B55-7FB58E49C224}"/>
              </a:ext>
            </a:extLst>
          </p:cNvPr>
          <p:cNvSpPr>
            <a:spLocks noGrp="1"/>
          </p:cNvSpPr>
          <p:nvPr>
            <p:ph type="title"/>
          </p:nvPr>
        </p:nvSpPr>
        <p:spPr>
          <a:xfrm>
            <a:off x="457200" y="361950"/>
            <a:ext cx="3114675" cy="2051312"/>
          </a:xfrm>
        </p:spPr>
        <p:txBody>
          <a:bodyPr/>
          <a:lstStyle>
            <a:lvl1pPr>
              <a:defRPr>
                <a:solidFill>
                  <a:srgbClr val="FFFFFF"/>
                </a:solidFill>
              </a:defRPr>
            </a:lvl1pPr>
          </a:lstStyle>
          <a:p>
            <a:r>
              <a:rPr lang="en-US"/>
              <a:t>Click to edit Master title style</a:t>
            </a:r>
          </a:p>
        </p:txBody>
      </p:sp>
      <p:sp>
        <p:nvSpPr>
          <p:cNvPr id="4" name="TextBox 3">
            <a:extLst>
              <a:ext uri="{FF2B5EF4-FFF2-40B4-BE49-F238E27FC236}">
                <a16:creationId xmlns:a16="http://schemas.microsoft.com/office/drawing/2014/main" id="{64B9B515-6C0A-2DCC-BDD9-2AEDE0D6D5DB}"/>
              </a:ext>
            </a:extLst>
          </p:cNvPr>
          <p:cNvSpPr txBox="1"/>
          <p:nvPr/>
        </p:nvSpPr>
        <p:spPr>
          <a:xfrm>
            <a:off x="457200" y="6393216"/>
            <a:ext cx="3566160"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rgbClr val="FFFFFF"/>
                </a:solidFill>
              </a:rPr>
              <a:t>‹#›</a:t>
            </a:fld>
            <a:r>
              <a:rPr lang="en-US" sz="700" b="0">
                <a:solidFill>
                  <a:srgbClr val="FFFFFF"/>
                </a:solidFill>
              </a:rPr>
              <a:t>	RESTRICTED © 2026 Gartner, Inc. and/or its affiliates. All rights reserved.</a:t>
            </a:r>
          </a:p>
        </p:txBody>
      </p:sp>
      <p:sp>
        <p:nvSpPr>
          <p:cNvPr id="6" name="Content Placeholder 5">
            <a:extLst>
              <a:ext uri="{FF2B5EF4-FFF2-40B4-BE49-F238E27FC236}">
                <a16:creationId xmlns:a16="http://schemas.microsoft.com/office/drawing/2014/main" id="{D3AB07D3-66B0-EF24-E15D-D61DB03311CA}"/>
              </a:ext>
            </a:extLst>
          </p:cNvPr>
          <p:cNvSpPr>
            <a:spLocks noGrp="1"/>
          </p:cNvSpPr>
          <p:nvPr>
            <p:ph sz="quarter" idx="10"/>
          </p:nvPr>
        </p:nvSpPr>
        <p:spPr>
          <a:xfrm>
            <a:off x="4478482" y="1346200"/>
            <a:ext cx="7256318" cy="45040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37485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1C83FFE-85A9-5C0D-5033-94BE254D3694}"/>
              </a:ext>
            </a:extLst>
          </p:cNvPr>
          <p:cNvSpPr txBox="1"/>
          <p:nvPr/>
        </p:nvSpPr>
        <p:spPr bwMode="ltGray">
          <a:xfrm>
            <a:off x="457200" y="1401620"/>
            <a:ext cx="1425191" cy="1121270"/>
          </a:xfrm>
          <a:custGeom>
            <a:avLst/>
            <a:gdLst/>
            <a:ahLst/>
            <a:cxnLst/>
            <a:rect l="l" t="t" r="r" b="b"/>
            <a:pathLst>
              <a:path w="611876" h="481394">
                <a:moveTo>
                  <a:pt x="561203" y="0"/>
                </a:moveTo>
                <a:lnTo>
                  <a:pt x="611876" y="100080"/>
                </a:lnTo>
                <a:cubicBezTo>
                  <a:pt x="564581" y="124572"/>
                  <a:pt x="531433" y="149697"/>
                  <a:pt x="512430" y="175456"/>
                </a:cubicBezTo>
                <a:cubicBezTo>
                  <a:pt x="502929" y="188335"/>
                  <a:pt x="495803" y="202429"/>
                  <a:pt x="491053" y="217736"/>
                </a:cubicBezTo>
                <a:lnTo>
                  <a:pt x="489521" y="224578"/>
                </a:lnTo>
                <a:lnTo>
                  <a:pt x="492794" y="224228"/>
                </a:lnTo>
                <a:cubicBezTo>
                  <a:pt x="525732" y="224228"/>
                  <a:pt x="553813" y="236474"/>
                  <a:pt x="577038" y="260966"/>
                </a:cubicBezTo>
                <a:cubicBezTo>
                  <a:pt x="600263" y="285458"/>
                  <a:pt x="611876" y="315440"/>
                  <a:pt x="611876" y="350911"/>
                </a:cubicBezTo>
                <a:cubicBezTo>
                  <a:pt x="611876" y="387227"/>
                  <a:pt x="599841" y="418053"/>
                  <a:pt x="575772" y="443389"/>
                </a:cubicBezTo>
                <a:cubicBezTo>
                  <a:pt x="551702" y="468726"/>
                  <a:pt x="521509" y="481394"/>
                  <a:pt x="485194" y="481394"/>
                </a:cubicBezTo>
                <a:cubicBezTo>
                  <a:pt x="441277" y="481394"/>
                  <a:pt x="404328" y="464925"/>
                  <a:pt x="374346" y="431988"/>
                </a:cubicBezTo>
                <a:cubicBezTo>
                  <a:pt x="344365" y="399050"/>
                  <a:pt x="329374" y="355556"/>
                  <a:pt x="329374" y="301505"/>
                </a:cubicBezTo>
                <a:cubicBezTo>
                  <a:pt x="329374" y="230563"/>
                  <a:pt x="350699" y="169122"/>
                  <a:pt x="393349" y="117182"/>
                </a:cubicBezTo>
                <a:cubicBezTo>
                  <a:pt x="435998" y="65242"/>
                  <a:pt x="491950" y="26181"/>
                  <a:pt x="561203" y="0"/>
                </a:cubicBezTo>
                <a:close/>
                <a:moveTo>
                  <a:pt x="231829" y="0"/>
                </a:moveTo>
                <a:lnTo>
                  <a:pt x="282502" y="100080"/>
                </a:lnTo>
                <a:cubicBezTo>
                  <a:pt x="235207" y="124572"/>
                  <a:pt x="202058" y="149697"/>
                  <a:pt x="183056" y="175456"/>
                </a:cubicBezTo>
                <a:cubicBezTo>
                  <a:pt x="173555" y="188335"/>
                  <a:pt x="166429" y="202429"/>
                  <a:pt x="161678" y="217736"/>
                </a:cubicBezTo>
                <a:lnTo>
                  <a:pt x="160146" y="224578"/>
                </a:lnTo>
                <a:lnTo>
                  <a:pt x="163420" y="224228"/>
                </a:lnTo>
                <a:cubicBezTo>
                  <a:pt x="196357" y="224228"/>
                  <a:pt x="224439" y="236474"/>
                  <a:pt x="247664" y="260966"/>
                </a:cubicBezTo>
                <a:cubicBezTo>
                  <a:pt x="270889" y="285458"/>
                  <a:pt x="282501" y="315440"/>
                  <a:pt x="282502" y="350911"/>
                </a:cubicBezTo>
                <a:cubicBezTo>
                  <a:pt x="282501" y="387227"/>
                  <a:pt x="270467" y="418053"/>
                  <a:pt x="246397" y="443389"/>
                </a:cubicBezTo>
                <a:cubicBezTo>
                  <a:pt x="222327" y="468726"/>
                  <a:pt x="192135" y="481394"/>
                  <a:pt x="155819" y="481394"/>
                </a:cubicBezTo>
                <a:cubicBezTo>
                  <a:pt x="111902" y="481394"/>
                  <a:pt x="74953" y="464925"/>
                  <a:pt x="44972" y="431988"/>
                </a:cubicBezTo>
                <a:cubicBezTo>
                  <a:pt x="14990" y="399050"/>
                  <a:pt x="0" y="355556"/>
                  <a:pt x="0" y="301505"/>
                </a:cubicBezTo>
                <a:cubicBezTo>
                  <a:pt x="0" y="230563"/>
                  <a:pt x="21324" y="169122"/>
                  <a:pt x="63974" y="117182"/>
                </a:cubicBezTo>
                <a:cubicBezTo>
                  <a:pt x="106624" y="65242"/>
                  <a:pt x="162575" y="26181"/>
                  <a:pt x="231829" y="0"/>
                </a:cubicBezTo>
                <a:close/>
              </a:path>
            </a:pathLst>
          </a:custGeom>
          <a:noFill/>
          <a:ln w="25400">
            <a:solidFill>
              <a:schemeClr val="accent2"/>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600"/>
              </a:spcBef>
            </a:pPr>
            <a:endParaRPr lang="en-US" sz="10000" b="1" i="0">
              <a:latin typeface="+mn-lt"/>
            </a:endParaRPr>
          </a:p>
        </p:txBody>
      </p:sp>
      <p:sp>
        <p:nvSpPr>
          <p:cNvPr id="2" name="Title 1">
            <a:extLst>
              <a:ext uri="{FF2B5EF4-FFF2-40B4-BE49-F238E27FC236}">
                <a16:creationId xmlns:a16="http://schemas.microsoft.com/office/drawing/2014/main" id="{8B478971-A225-4A64-8E00-AA9C8577611D}"/>
              </a:ext>
            </a:extLst>
          </p:cNvPr>
          <p:cNvSpPr>
            <a:spLocks noGrp="1"/>
          </p:cNvSpPr>
          <p:nvPr>
            <p:ph type="title" hasCustomPrompt="1"/>
          </p:nvPr>
        </p:nvSpPr>
        <p:spPr>
          <a:xfrm>
            <a:off x="773056" y="1009268"/>
            <a:ext cx="5718415" cy="4476115"/>
          </a:xfrm>
        </p:spPr>
        <p:txBody>
          <a:bodyPr anchor="ctr" anchorCtr="0"/>
          <a:lstStyle>
            <a:lvl1pPr marL="0" indent="0">
              <a:lnSpc>
                <a:spcPct val="100000"/>
              </a:lnSpc>
              <a:defRPr sz="2800">
                <a:latin typeface="+mj-lt"/>
              </a:defRPr>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Mauris </a:t>
            </a:r>
            <a:r>
              <a:rPr lang="en-US" err="1"/>
              <a:t>accum</a:t>
            </a:r>
            <a:r>
              <a:rPr lang="en-US"/>
              <a:t> </a:t>
            </a:r>
            <a:r>
              <a:rPr lang="en-US" err="1"/>
              <a:t>san</a:t>
            </a:r>
            <a:r>
              <a:rPr lang="en-US"/>
              <a:t> </a:t>
            </a:r>
            <a:r>
              <a:rPr lang="en-US" err="1"/>
              <a:t>urna</a:t>
            </a:r>
            <a:r>
              <a:rPr lang="en-US"/>
              <a:t>. Sus </a:t>
            </a:r>
            <a:r>
              <a:rPr lang="en-US" err="1"/>
              <a:t>pendisse</a:t>
            </a:r>
            <a:r>
              <a:rPr lang="en-US"/>
              <a:t> </a:t>
            </a:r>
            <a:r>
              <a:rPr lang="en-US" err="1"/>
              <a:t>sem</a:t>
            </a:r>
            <a:r>
              <a:rPr lang="en-US"/>
              <a:t> per semper </a:t>
            </a:r>
            <a:r>
              <a:rPr lang="en-US" err="1"/>
              <a:t>commodo</a:t>
            </a:r>
            <a:r>
              <a:rPr lang="en-US"/>
              <a:t>.”</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nvPr>
        </p:nvSpPr>
        <p:spPr>
          <a:xfrm>
            <a:off x="773056" y="5641514"/>
            <a:ext cx="5718415" cy="347472"/>
          </a:xfrm>
        </p:spPr>
        <p:txBody>
          <a:bodyPr/>
          <a:lstStyle>
            <a:lvl1pPr marL="0" indent="0">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3928" y="1346199"/>
            <a:ext cx="4690872" cy="429768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2339428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BC41137-E6C9-A053-8403-388C27EB8CE1}"/>
              </a:ext>
            </a:extLst>
          </p:cNvPr>
          <p:cNvSpPr txBox="1"/>
          <p:nvPr/>
        </p:nvSpPr>
        <p:spPr bwMode="ltGray">
          <a:xfrm>
            <a:off x="457200" y="1401620"/>
            <a:ext cx="1425191" cy="1121270"/>
          </a:xfrm>
          <a:custGeom>
            <a:avLst/>
            <a:gdLst/>
            <a:ahLst/>
            <a:cxnLst/>
            <a:rect l="l" t="t" r="r" b="b"/>
            <a:pathLst>
              <a:path w="611876" h="481394">
                <a:moveTo>
                  <a:pt x="561203" y="0"/>
                </a:moveTo>
                <a:lnTo>
                  <a:pt x="611876" y="100080"/>
                </a:lnTo>
                <a:cubicBezTo>
                  <a:pt x="564581" y="124572"/>
                  <a:pt x="531433" y="149697"/>
                  <a:pt x="512430" y="175456"/>
                </a:cubicBezTo>
                <a:cubicBezTo>
                  <a:pt x="502929" y="188335"/>
                  <a:pt x="495803" y="202429"/>
                  <a:pt x="491053" y="217736"/>
                </a:cubicBezTo>
                <a:lnTo>
                  <a:pt x="489521" y="224578"/>
                </a:lnTo>
                <a:lnTo>
                  <a:pt x="492794" y="224228"/>
                </a:lnTo>
                <a:cubicBezTo>
                  <a:pt x="525732" y="224228"/>
                  <a:pt x="553813" y="236474"/>
                  <a:pt x="577038" y="260966"/>
                </a:cubicBezTo>
                <a:cubicBezTo>
                  <a:pt x="600263" y="285458"/>
                  <a:pt x="611876" y="315440"/>
                  <a:pt x="611876" y="350911"/>
                </a:cubicBezTo>
                <a:cubicBezTo>
                  <a:pt x="611876" y="387227"/>
                  <a:pt x="599841" y="418053"/>
                  <a:pt x="575772" y="443389"/>
                </a:cubicBezTo>
                <a:cubicBezTo>
                  <a:pt x="551702" y="468726"/>
                  <a:pt x="521509" y="481394"/>
                  <a:pt x="485194" y="481394"/>
                </a:cubicBezTo>
                <a:cubicBezTo>
                  <a:pt x="441277" y="481394"/>
                  <a:pt x="404328" y="464925"/>
                  <a:pt x="374346" y="431988"/>
                </a:cubicBezTo>
                <a:cubicBezTo>
                  <a:pt x="344365" y="399050"/>
                  <a:pt x="329374" y="355556"/>
                  <a:pt x="329374" y="301505"/>
                </a:cubicBezTo>
                <a:cubicBezTo>
                  <a:pt x="329374" y="230563"/>
                  <a:pt x="350699" y="169122"/>
                  <a:pt x="393349" y="117182"/>
                </a:cubicBezTo>
                <a:cubicBezTo>
                  <a:pt x="435998" y="65242"/>
                  <a:pt x="491950" y="26181"/>
                  <a:pt x="561203" y="0"/>
                </a:cubicBezTo>
                <a:close/>
                <a:moveTo>
                  <a:pt x="231829" y="0"/>
                </a:moveTo>
                <a:lnTo>
                  <a:pt x="282502" y="100080"/>
                </a:lnTo>
                <a:cubicBezTo>
                  <a:pt x="235207" y="124572"/>
                  <a:pt x="202058" y="149697"/>
                  <a:pt x="183056" y="175456"/>
                </a:cubicBezTo>
                <a:cubicBezTo>
                  <a:pt x="173555" y="188335"/>
                  <a:pt x="166429" y="202429"/>
                  <a:pt x="161678" y="217736"/>
                </a:cubicBezTo>
                <a:lnTo>
                  <a:pt x="160146" y="224578"/>
                </a:lnTo>
                <a:lnTo>
                  <a:pt x="163420" y="224228"/>
                </a:lnTo>
                <a:cubicBezTo>
                  <a:pt x="196357" y="224228"/>
                  <a:pt x="224439" y="236474"/>
                  <a:pt x="247664" y="260966"/>
                </a:cubicBezTo>
                <a:cubicBezTo>
                  <a:pt x="270889" y="285458"/>
                  <a:pt x="282501" y="315440"/>
                  <a:pt x="282502" y="350911"/>
                </a:cubicBezTo>
                <a:cubicBezTo>
                  <a:pt x="282501" y="387227"/>
                  <a:pt x="270467" y="418053"/>
                  <a:pt x="246397" y="443389"/>
                </a:cubicBezTo>
                <a:cubicBezTo>
                  <a:pt x="222327" y="468726"/>
                  <a:pt x="192135" y="481394"/>
                  <a:pt x="155819" y="481394"/>
                </a:cubicBezTo>
                <a:cubicBezTo>
                  <a:pt x="111902" y="481394"/>
                  <a:pt x="74953" y="464925"/>
                  <a:pt x="44972" y="431988"/>
                </a:cubicBezTo>
                <a:cubicBezTo>
                  <a:pt x="14990" y="399050"/>
                  <a:pt x="0" y="355556"/>
                  <a:pt x="0" y="301505"/>
                </a:cubicBezTo>
                <a:cubicBezTo>
                  <a:pt x="0" y="230563"/>
                  <a:pt x="21324" y="169122"/>
                  <a:pt x="63974" y="117182"/>
                </a:cubicBezTo>
                <a:cubicBezTo>
                  <a:pt x="106624" y="65242"/>
                  <a:pt x="162575" y="26181"/>
                  <a:pt x="231829" y="0"/>
                </a:cubicBezTo>
                <a:close/>
              </a:path>
            </a:pathLst>
          </a:custGeom>
          <a:noFill/>
          <a:ln w="25400">
            <a:solidFill>
              <a:schemeClr val="accent2"/>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600"/>
              </a:spcBef>
            </a:pPr>
            <a:endParaRPr lang="en-US" sz="10000" b="1" i="0">
              <a:latin typeface="+mn-lt"/>
            </a:endParaRPr>
          </a:p>
        </p:txBody>
      </p:sp>
      <p:sp>
        <p:nvSpPr>
          <p:cNvPr id="6" name="Title 1">
            <a:extLst>
              <a:ext uri="{FF2B5EF4-FFF2-40B4-BE49-F238E27FC236}">
                <a16:creationId xmlns:a16="http://schemas.microsoft.com/office/drawing/2014/main" id="{A5204F30-1AF4-524D-A3DC-8D6F9529A61E}"/>
              </a:ext>
            </a:extLst>
          </p:cNvPr>
          <p:cNvSpPr>
            <a:spLocks noGrp="1"/>
          </p:cNvSpPr>
          <p:nvPr>
            <p:ph type="title" hasCustomPrompt="1"/>
          </p:nvPr>
        </p:nvSpPr>
        <p:spPr>
          <a:xfrm>
            <a:off x="773054" y="995363"/>
            <a:ext cx="8086466" cy="4460875"/>
          </a:xfrm>
        </p:spPr>
        <p:txBody>
          <a:bodyPr anchor="ctr" anchorCtr="0"/>
          <a:lstStyle>
            <a:lvl1pPr marL="0" indent="0">
              <a:lnSpc>
                <a:spcPct val="100000"/>
              </a:lnSpc>
              <a:defRPr sz="28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Mauris </a:t>
            </a:r>
            <a:r>
              <a:rPr lang="en-US" err="1"/>
              <a:t>accum</a:t>
            </a:r>
            <a:r>
              <a:rPr lang="en-US"/>
              <a:t> </a:t>
            </a:r>
            <a:r>
              <a:rPr lang="en-US" err="1"/>
              <a:t>san</a:t>
            </a:r>
            <a:r>
              <a:rPr lang="en-US"/>
              <a:t> </a:t>
            </a:r>
            <a:r>
              <a:rPr lang="en-US" err="1"/>
              <a:t>urna</a:t>
            </a:r>
            <a:r>
              <a:rPr lang="en-US"/>
              <a:t>. Sus </a:t>
            </a:r>
            <a:r>
              <a:rPr lang="en-US" err="1"/>
              <a:t>pendisse</a:t>
            </a:r>
            <a:r>
              <a:rPr lang="en-US"/>
              <a:t> </a:t>
            </a:r>
            <a:r>
              <a:rPr lang="en-US" err="1"/>
              <a:t>sem</a:t>
            </a:r>
            <a:r>
              <a:rPr lang="en-US"/>
              <a:t> per semper </a:t>
            </a:r>
            <a:r>
              <a:rPr lang="en-US" err="1"/>
              <a:t>commodo</a:t>
            </a:r>
            <a:r>
              <a:rPr lang="en-US"/>
              <a:t>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nvPr>
        </p:nvSpPr>
        <p:spPr>
          <a:xfrm>
            <a:off x="773056" y="5641514"/>
            <a:ext cx="8086463" cy="347472"/>
          </a:xfrm>
        </p:spPr>
        <p:txBody>
          <a:bodyPr/>
          <a:lstStyle>
            <a:lvl1pPr marL="0" indent="0">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18203835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i="0">
                <a:latin typeface="Gartner Sans Semibold" panose="020B0504030402040204" pitchFamily="34" charset="77"/>
              </a:defRPr>
            </a:lvl1pPr>
          </a:lstStyle>
          <a:p>
            <a:r>
              <a:rPr lang="en-US" dirty="0"/>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1412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END">
    <p:bg>
      <p:bgPr>
        <a:solidFill>
          <a:srgbClr val="FFFF00"/>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A65764A-9DB5-E0B9-2854-737204071442}"/>
              </a:ext>
            </a:extLst>
          </p:cNvPr>
          <p:cNvSpPr txBox="1"/>
          <p:nvPr/>
        </p:nvSpPr>
        <p:spPr>
          <a:xfrm>
            <a:off x="208972" y="189623"/>
            <a:ext cx="11774056" cy="6555641"/>
          </a:xfrm>
          <a:prstGeom prst="rect">
            <a:avLst/>
          </a:prstGeom>
          <a:noFill/>
        </p:spPr>
        <p:txBody>
          <a:bodyPr wrap="none" lIns="0" rIns="0" rtlCol="0">
            <a:spAutoFit/>
          </a:bodyPr>
          <a:lstStyle/>
          <a:p>
            <a:pPr algn="ctr">
              <a:spcBef>
                <a:spcPts val="600"/>
              </a:spcBef>
            </a:pPr>
            <a:r>
              <a:rPr lang="en-US" sz="9600" dirty="0">
                <a:solidFill>
                  <a:srgbClr val="00002D"/>
                </a:solidFill>
                <a:latin typeface="+mj-lt"/>
              </a:rPr>
              <a:t>Don’t use this or any </a:t>
            </a:r>
            <a:br>
              <a:rPr lang="en-US" sz="9600" dirty="0">
                <a:solidFill>
                  <a:srgbClr val="00002D"/>
                </a:solidFill>
                <a:latin typeface="+mj-lt"/>
              </a:rPr>
            </a:br>
            <a:r>
              <a:rPr lang="en-US" sz="9600" dirty="0">
                <a:solidFill>
                  <a:srgbClr val="00002D"/>
                </a:solidFill>
                <a:latin typeface="+mj-lt"/>
              </a:rPr>
              <a:t>layouts after this.</a:t>
            </a:r>
            <a:endParaRPr lang="en-US" sz="4400" dirty="0">
              <a:solidFill>
                <a:srgbClr val="00002D"/>
              </a:solidFill>
              <a:latin typeface="+mj-lt"/>
            </a:endParaRPr>
          </a:p>
          <a:p>
            <a:pPr algn="ctr">
              <a:spcBef>
                <a:spcPts val="3600"/>
              </a:spcBef>
            </a:pPr>
            <a:r>
              <a:rPr lang="en-US" sz="6600" dirty="0">
                <a:solidFill>
                  <a:srgbClr val="00002D"/>
                </a:solidFill>
              </a:rPr>
              <a:t>Choose an appropriate </a:t>
            </a:r>
            <a:br>
              <a:rPr lang="en-US" sz="6600" dirty="0">
                <a:solidFill>
                  <a:srgbClr val="00002D"/>
                </a:solidFill>
              </a:rPr>
            </a:br>
            <a:r>
              <a:rPr lang="en-US" sz="6600" dirty="0">
                <a:solidFill>
                  <a:srgbClr val="00002D"/>
                </a:solidFill>
              </a:rPr>
              <a:t>layout from </a:t>
            </a:r>
            <a:br>
              <a:rPr lang="en-US" sz="6600" dirty="0">
                <a:solidFill>
                  <a:srgbClr val="00002D"/>
                </a:solidFill>
              </a:rPr>
            </a:br>
            <a:r>
              <a:rPr lang="en-US" sz="6600" b="1" dirty="0">
                <a:solidFill>
                  <a:srgbClr val="00002D"/>
                </a:solidFill>
              </a:rPr>
              <a:t>Home</a:t>
            </a:r>
            <a:r>
              <a:rPr lang="en-US" sz="6600" dirty="0">
                <a:solidFill>
                  <a:srgbClr val="00002D"/>
                </a:solidFill>
              </a:rPr>
              <a:t> &gt; </a:t>
            </a:r>
            <a:r>
              <a:rPr lang="en-US" sz="6600" b="1" dirty="0">
                <a:solidFill>
                  <a:srgbClr val="00002D"/>
                </a:solidFill>
              </a:rPr>
              <a:t>Layout gallery</a:t>
            </a:r>
            <a:r>
              <a:rPr lang="en-US" sz="6600" dirty="0">
                <a:solidFill>
                  <a:srgbClr val="00002D"/>
                </a:solidFill>
              </a:rPr>
              <a:t>.</a:t>
            </a:r>
          </a:p>
        </p:txBody>
      </p:sp>
      <p:sp>
        <p:nvSpPr>
          <p:cNvPr id="2" name="TextBox 1">
            <a:extLst>
              <a:ext uri="{FF2B5EF4-FFF2-40B4-BE49-F238E27FC236}">
                <a16:creationId xmlns:a16="http://schemas.microsoft.com/office/drawing/2014/main" id="{EB11D6F1-48A0-B0B0-BC3C-5FC66330BED9}"/>
              </a:ext>
            </a:extLst>
          </p:cNvPr>
          <p:cNvSpPr txBox="1"/>
          <p:nvPr/>
        </p:nvSpPr>
        <p:spPr>
          <a:xfrm>
            <a:off x="12346930" y="835909"/>
            <a:ext cx="2668480" cy="2539157"/>
          </a:xfrm>
          <a:prstGeom prst="rect">
            <a:avLst/>
          </a:prstGeom>
          <a:noFill/>
          <a:ln>
            <a:solidFill>
              <a:srgbClr val="707996"/>
            </a:solidFill>
          </a:ln>
        </p:spPr>
        <p:txBody>
          <a:bodyPr wrap="square" lIns="91440" rIns="91440" rtlCol="0">
            <a:spAutoFit/>
          </a:bodyPr>
          <a:lstStyle/>
          <a:p>
            <a:pPr algn="l">
              <a:spcBef>
                <a:spcPts val="600"/>
              </a:spcBef>
            </a:pPr>
            <a:r>
              <a:rPr lang="en-US" sz="1400" dirty="0">
                <a:solidFill>
                  <a:srgbClr val="00002D"/>
                </a:solidFill>
              </a:rPr>
              <a:t>When pasting legacy slides that doesn’t match any of the new layouts, PowerPoint adds it to the end of the layouts and prepends the layout name with a number (</a:t>
            </a:r>
            <a:r>
              <a:rPr lang="en-US" sz="1400" dirty="0" err="1">
                <a:solidFill>
                  <a:srgbClr val="00002D"/>
                </a:solidFill>
              </a:rPr>
              <a:t>1_Title</a:t>
            </a:r>
            <a:r>
              <a:rPr lang="en-US" sz="1400" dirty="0">
                <a:solidFill>
                  <a:srgbClr val="00002D"/>
                </a:solidFill>
              </a:rPr>
              <a:t> Slide, for example). </a:t>
            </a:r>
          </a:p>
          <a:p>
            <a:pPr algn="l">
              <a:spcBef>
                <a:spcPts val="600"/>
              </a:spcBef>
            </a:pPr>
            <a:r>
              <a:rPr lang="en-US" sz="1400" dirty="0">
                <a:solidFill>
                  <a:srgbClr val="00002D"/>
                </a:solidFill>
              </a:rPr>
              <a:t>These “orphaned” layouts should not be used, instead choose from the layouts preceding this one. </a:t>
            </a:r>
          </a:p>
        </p:txBody>
      </p:sp>
    </p:spTree>
    <p:extLst>
      <p:ext uri="{BB962C8B-B14F-4D97-AF65-F5344CB8AC3E}">
        <p14:creationId xmlns:p14="http://schemas.microsoft.com/office/powerpoint/2010/main" val="39351459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20000">
              <a:schemeClr val="bg2"/>
            </a:gs>
            <a:gs pos="100000">
              <a:schemeClr val="accent2"/>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invGray">
          <a:xfrm>
            <a:off x="1371600" y="2149713"/>
            <a:ext cx="8426919" cy="2185214"/>
          </a:xfrm>
          <a:prstGeom prst="bracketPair">
            <a:avLst>
              <a:gd name="adj" fmla="val 0"/>
            </a:avLst>
          </a:prstGeom>
          <a:ln w="101600">
            <a:solidFill>
              <a:schemeClr val="accent3"/>
            </a:solidFill>
          </a:ln>
        </p:spPr>
        <p:txBody>
          <a:bodyPr lIns="228600" tIns="91440" rIns="182880" bIns="731520" anchor="t" anchorCtr="0">
            <a:spAutoFit/>
          </a:bodyPr>
          <a:lstStyle>
            <a:lvl1pPr algn="l">
              <a:defRPr sz="4400"/>
            </a:lvl1pPr>
          </a:lstStyle>
          <a:p>
            <a:r>
              <a:rPr lang="en-US"/>
              <a:t>Click to Add Title; 2 Lines of Copy; 60 Characters Maximum</a:t>
            </a:r>
          </a:p>
        </p:txBody>
      </p:sp>
      <p:sp>
        <p:nvSpPr>
          <p:cNvPr id="3" name="Subtitle 2"/>
          <p:cNvSpPr>
            <a:spLocks noGrp="1"/>
          </p:cNvSpPr>
          <p:nvPr>
            <p:ph type="subTitle" idx="1" hasCustomPrompt="1"/>
          </p:nvPr>
        </p:nvSpPr>
        <p:spPr>
          <a:xfrm>
            <a:off x="1371600" y="3851940"/>
            <a:ext cx="8426919" cy="276999"/>
          </a:xfrm>
        </p:spPr>
        <p:txBody>
          <a:bodyPr lIns="246888" rIns="182880">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685800" y="6199632"/>
            <a:ext cx="7095744" cy="323165"/>
          </a:xfrm>
          <a:prstGeom prst="rect">
            <a:avLst/>
          </a:prstGeom>
          <a:noFill/>
        </p:spPr>
        <p:txBody>
          <a:bodyPr wrap="square" lIns="0" tIns="0" rIns="0" bIns="0" rtlCol="0" anchor="b" anchorCtr="0">
            <a:spAutoFit/>
          </a:bodyPr>
          <a:lstStyle/>
          <a:p>
            <a:r>
              <a:rPr lang="en-US" sz="700"/>
              <a:t>© 2026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800" y="685800"/>
            <a:ext cx="1737435" cy="395448"/>
          </a:xfrm>
          <a:prstGeom prst="rect">
            <a:avLst/>
          </a:prstGeom>
        </p:spPr>
      </p:pic>
    </p:spTree>
    <p:extLst>
      <p:ext uri="{BB962C8B-B14F-4D97-AF65-F5344CB8AC3E}">
        <p14:creationId xmlns:p14="http://schemas.microsoft.com/office/powerpoint/2010/main" val="790455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86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Pr>
        <a:solidFill>
          <a:srgbClr val="E0F1F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1371600" y="2149713"/>
            <a:ext cx="8426919" cy="2185214"/>
          </a:xfrm>
          <a:prstGeom prst="bracketPair">
            <a:avLst>
              <a:gd name="adj" fmla="val 0"/>
            </a:avLst>
          </a:prstGeom>
          <a:ln w="114300">
            <a:solidFill>
              <a:schemeClr val="accent3"/>
            </a:solidFill>
          </a:ln>
        </p:spPr>
        <p:txBody>
          <a:bodyPr lIns="228600" tIns="91440" rIns="182880" bIns="731520" anchor="t" anchorCtr="0">
            <a:spAutoFit/>
          </a:bodyPr>
          <a:lstStyle>
            <a:lvl1pPr algn="l">
              <a:defRPr sz="4400"/>
            </a:lvl1pPr>
          </a:lstStyle>
          <a:p>
            <a:r>
              <a:rPr lang="en-US"/>
              <a:t>Click to Add Title; 2 Lines of Copy; 60 Characters Maximum</a:t>
            </a:r>
          </a:p>
        </p:txBody>
      </p:sp>
      <p:sp>
        <p:nvSpPr>
          <p:cNvPr id="14" name="TextBox 13">
            <a:extLst>
              <a:ext uri="{FF2B5EF4-FFF2-40B4-BE49-F238E27FC236}">
                <a16:creationId xmlns:a16="http://schemas.microsoft.com/office/drawing/2014/main" id="{BB93A754-CF98-4BEB-BE89-ADF1CF77AA4F}"/>
              </a:ext>
            </a:extLst>
          </p:cNvPr>
          <p:cNvSpPr txBox="1"/>
          <p:nvPr/>
        </p:nvSpPr>
        <p:spPr>
          <a:xfrm>
            <a:off x="685800" y="6199632"/>
            <a:ext cx="7095744" cy="323165"/>
          </a:xfrm>
          <a:prstGeom prst="rect">
            <a:avLst/>
          </a:prstGeom>
          <a:noFill/>
        </p:spPr>
        <p:txBody>
          <a:bodyPr wrap="square" lIns="0" tIns="0" rIns="0" bIns="0" rtlCol="0" anchor="b" anchorCtr="0">
            <a:spAutoFit/>
          </a:bodyPr>
          <a:lstStyle/>
          <a:p>
            <a:r>
              <a:rPr lang="en-US" sz="700"/>
              <a:t>© 2026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p:nvPicPr>
        <p:blipFill>
          <a:blip r:embed="rId2">
            <a:extLst>
              <a:ext uri="{28A0092B-C50C-407E-A947-70E740481C1C}">
                <a14:useLocalDpi xmlns:a14="http://schemas.microsoft.com/office/drawing/2010/main" val="0"/>
              </a:ext>
            </a:extLst>
          </a:blip>
          <a:srcRect t="226" b="226"/>
          <a:stretch/>
        </p:blipFill>
        <p:spPr>
          <a:xfrm>
            <a:off x="685800" y="685800"/>
            <a:ext cx="1736570" cy="395448"/>
          </a:xfrm>
          <a:prstGeom prst="rect">
            <a:avLst/>
          </a:prstGeom>
        </p:spPr>
      </p:pic>
      <p:sp>
        <p:nvSpPr>
          <p:cNvPr id="3" name="Subtitle 2"/>
          <p:cNvSpPr>
            <a:spLocks noGrp="1"/>
          </p:cNvSpPr>
          <p:nvPr>
            <p:ph type="subTitle" idx="1" hasCustomPrompt="1"/>
          </p:nvPr>
        </p:nvSpPr>
        <p:spPr>
          <a:xfrm>
            <a:off x="1371600" y="3851940"/>
            <a:ext cx="8426919" cy="276999"/>
          </a:xfrm>
        </p:spPr>
        <p:txBody>
          <a:bodyPr lIns="246888" rIns="182880">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p>
        </p:txBody>
      </p:sp>
    </p:spTree>
    <p:extLst>
      <p:ext uri="{BB962C8B-B14F-4D97-AF65-F5344CB8AC3E}">
        <p14:creationId xmlns:p14="http://schemas.microsoft.com/office/powerpoint/2010/main" val="36776173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86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7624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20043540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45899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28182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62284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32649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bwMode="ltGray">
          <a:xfrm>
            <a:off x="457200" y="1527048"/>
            <a:ext cx="3337560" cy="4462272"/>
          </a:xfrm>
          <a:solidFill>
            <a:srgbClr val="B8DEFF"/>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bwMode="ltGray">
          <a:xfrm>
            <a:off x="4425696" y="1527048"/>
            <a:ext cx="3337560" cy="4462272"/>
          </a:xfrm>
          <a:solidFill>
            <a:srgbClr val="B8DEFF"/>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bwMode="ltGray">
          <a:xfrm>
            <a:off x="8394192" y="1527048"/>
            <a:ext cx="3337560" cy="4462272"/>
          </a:xfrm>
          <a:solidFill>
            <a:srgbClr val="B8DEFF"/>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97534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i="0">
                <a:latin typeface="Gartner Sans Semibold" panose="020B0504030402040204" pitchFamily="34" charset="77"/>
              </a:defRPr>
            </a:lvl1pPr>
          </a:lstStyle>
          <a:p>
            <a:r>
              <a:rPr lang="en-US" dirty="0"/>
              <a:t>Click to edit title</a:t>
            </a:r>
          </a:p>
        </p:txBody>
      </p:sp>
      <p:sp>
        <p:nvSpPr>
          <p:cNvPr id="3" name="Content Placeholder 2"/>
          <p:cNvSpPr>
            <a:spLocks noGrp="1"/>
          </p:cNvSpPr>
          <p:nvPr>
            <p:ph sz="half" idx="1" hasCustomPrompt="1"/>
          </p:nvPr>
        </p:nvSpPr>
        <p:spPr bwMode="ltGray">
          <a:xfrm>
            <a:off x="457200" y="1527048"/>
            <a:ext cx="3337560" cy="4462272"/>
          </a:xfrm>
          <a:solidFill>
            <a:srgbClr val="E0F1FF"/>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bwMode="ltGray">
          <a:xfrm>
            <a:off x="4425696" y="1527048"/>
            <a:ext cx="3337560" cy="4462272"/>
          </a:xfrm>
          <a:solidFill>
            <a:srgbClr val="E0F1FF"/>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bwMode="ltGray">
          <a:xfrm>
            <a:off x="8394192" y="1527048"/>
            <a:ext cx="3337560" cy="4462272"/>
          </a:xfrm>
          <a:solidFill>
            <a:srgbClr val="E0F1FF"/>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94625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85472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bwMode="ltGray">
          <a:xfrm>
            <a:off x="457200" y="1527048"/>
            <a:ext cx="2600706" cy="4462272"/>
          </a:xfrm>
          <a:solidFill>
            <a:srgbClr val="B8DEFF"/>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bwMode="ltGray">
          <a:xfrm>
            <a:off x="3348482" y="1527048"/>
            <a:ext cx="2600706" cy="4462272"/>
          </a:xfrm>
          <a:solidFill>
            <a:srgbClr val="B8DEFF"/>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bwMode="ltGray">
          <a:xfrm>
            <a:off x="6239764" y="1527048"/>
            <a:ext cx="2600706" cy="4462272"/>
          </a:xfrm>
          <a:solidFill>
            <a:srgbClr val="B8DEFF"/>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bwMode="ltGray">
          <a:xfrm>
            <a:off x="9131046" y="1527048"/>
            <a:ext cx="2600706" cy="4462272"/>
          </a:xfrm>
          <a:solidFill>
            <a:srgbClr val="B8DEFF"/>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53462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E0F1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BAA7-7402-7653-A21A-2C33B981B892}"/>
              </a:ext>
            </a:extLst>
          </p:cNvPr>
          <p:cNvSpPr>
            <a:spLocks noGrp="1"/>
          </p:cNvSpPr>
          <p:nvPr>
            <p:ph type="title" hasCustomPrompt="1"/>
          </p:nvPr>
        </p:nvSpPr>
        <p:spPr bwMode="gray">
          <a:xfrm>
            <a:off x="1365814" y="1590378"/>
            <a:ext cx="5408210" cy="2031326"/>
          </a:xfrm>
          <a:prstGeom prst="bracketPair">
            <a:avLst>
              <a:gd name="adj" fmla="val 0"/>
            </a:avLst>
          </a:prstGeom>
          <a:ln w="101600">
            <a:solidFill>
              <a:schemeClr val="accent3"/>
            </a:solidFill>
          </a:ln>
        </p:spPr>
        <p:txBody>
          <a:bodyPr wrap="square" lIns="228600" rIns="182880" anchor="ctr" anchorCtr="0">
            <a:spAutoFit/>
          </a:bodyPr>
          <a:lstStyle>
            <a:lvl1pPr>
              <a:defRPr sz="4400"/>
            </a:lvl1pPr>
          </a:lstStyle>
          <a:p>
            <a:r>
              <a:rPr lang="en-US"/>
              <a:t>Divider Slide</a:t>
            </a:r>
            <a:br>
              <a:rPr lang="en-US"/>
            </a:br>
            <a:r>
              <a:rPr lang="en-US"/>
              <a:t>30 Characters Max.</a:t>
            </a:r>
            <a:br>
              <a:rPr lang="en-US"/>
            </a:br>
            <a:r>
              <a:rPr lang="en-US"/>
              <a:t>Lorem Ipsum</a:t>
            </a:r>
          </a:p>
        </p:txBody>
      </p:sp>
    </p:spTree>
    <p:extLst>
      <p:ext uri="{BB962C8B-B14F-4D97-AF65-F5344CB8AC3E}">
        <p14:creationId xmlns:p14="http://schemas.microsoft.com/office/powerpoint/2010/main" val="22369526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Left Rai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1F3F689-0EFE-267D-1F38-8A7BB7CF62AF}"/>
              </a:ext>
            </a:extLst>
          </p:cNvPr>
          <p:cNvSpPr/>
          <p:nvPr/>
        </p:nvSpPr>
        <p:spPr bwMode="invGray">
          <a:xfrm>
            <a:off x="-1" y="0"/>
            <a:ext cx="4050792" cy="6858000"/>
          </a:xfrm>
          <a:prstGeom prst="rect">
            <a:avLst/>
          </a:prstGeom>
          <a:gradFill>
            <a:gsLst>
              <a:gs pos="0">
                <a:schemeClr val="accent2"/>
              </a:gs>
              <a:gs pos="80000">
                <a:schemeClr val="tx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D9D03778-9F51-35F8-9B55-7FB58E49C224}"/>
              </a:ext>
            </a:extLst>
          </p:cNvPr>
          <p:cNvSpPr>
            <a:spLocks noGrp="1"/>
          </p:cNvSpPr>
          <p:nvPr>
            <p:ph type="title"/>
          </p:nvPr>
        </p:nvSpPr>
        <p:spPr>
          <a:xfrm>
            <a:off x="457200" y="361950"/>
            <a:ext cx="3114675" cy="2051312"/>
          </a:xfrm>
        </p:spPr>
        <p:txBody>
          <a:bodyPr/>
          <a:lstStyle>
            <a:lvl1pPr>
              <a:defRPr>
                <a:solidFill>
                  <a:srgbClr val="FFFFFF"/>
                </a:solidFill>
              </a:defRPr>
            </a:lvl1pPr>
          </a:lstStyle>
          <a:p>
            <a:r>
              <a:rPr lang="en-US"/>
              <a:t>Click to edit Master title style</a:t>
            </a:r>
          </a:p>
        </p:txBody>
      </p:sp>
      <p:sp>
        <p:nvSpPr>
          <p:cNvPr id="4" name="TextBox 3">
            <a:extLst>
              <a:ext uri="{FF2B5EF4-FFF2-40B4-BE49-F238E27FC236}">
                <a16:creationId xmlns:a16="http://schemas.microsoft.com/office/drawing/2014/main" id="{64B9B515-6C0A-2DCC-BDD9-2AEDE0D6D5DB}"/>
              </a:ext>
            </a:extLst>
          </p:cNvPr>
          <p:cNvSpPr txBox="1"/>
          <p:nvPr/>
        </p:nvSpPr>
        <p:spPr>
          <a:xfrm>
            <a:off x="457200" y="6393216"/>
            <a:ext cx="3566160"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rgbClr val="FFFFFF"/>
                </a:solidFill>
              </a:rPr>
              <a:t>‹#›</a:t>
            </a:fld>
            <a:r>
              <a:rPr lang="en-US" sz="700" b="0">
                <a:solidFill>
                  <a:srgbClr val="FFFFFF"/>
                </a:solidFill>
              </a:rPr>
              <a:t>	RESTRICTED © 2026 Gartner, Inc. and/or its affiliates. All rights reserved.</a:t>
            </a:r>
          </a:p>
        </p:txBody>
      </p:sp>
      <p:sp>
        <p:nvSpPr>
          <p:cNvPr id="6" name="Content Placeholder 5">
            <a:extLst>
              <a:ext uri="{FF2B5EF4-FFF2-40B4-BE49-F238E27FC236}">
                <a16:creationId xmlns:a16="http://schemas.microsoft.com/office/drawing/2014/main" id="{D3AB07D3-66B0-EF24-E15D-D61DB03311CA}"/>
              </a:ext>
            </a:extLst>
          </p:cNvPr>
          <p:cNvSpPr>
            <a:spLocks noGrp="1"/>
          </p:cNvSpPr>
          <p:nvPr>
            <p:ph sz="quarter" idx="10"/>
          </p:nvPr>
        </p:nvSpPr>
        <p:spPr>
          <a:xfrm>
            <a:off x="4478482" y="1346200"/>
            <a:ext cx="7256318" cy="45040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60504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1C83FFE-85A9-5C0D-5033-94BE254D3694}"/>
              </a:ext>
            </a:extLst>
          </p:cNvPr>
          <p:cNvSpPr txBox="1"/>
          <p:nvPr/>
        </p:nvSpPr>
        <p:spPr bwMode="ltGray">
          <a:xfrm>
            <a:off x="457200" y="1401620"/>
            <a:ext cx="1425191" cy="1121270"/>
          </a:xfrm>
          <a:custGeom>
            <a:avLst/>
            <a:gdLst/>
            <a:ahLst/>
            <a:cxnLst/>
            <a:rect l="l" t="t" r="r" b="b"/>
            <a:pathLst>
              <a:path w="611876" h="481394">
                <a:moveTo>
                  <a:pt x="561203" y="0"/>
                </a:moveTo>
                <a:lnTo>
                  <a:pt x="611876" y="100080"/>
                </a:lnTo>
                <a:cubicBezTo>
                  <a:pt x="564581" y="124572"/>
                  <a:pt x="531433" y="149697"/>
                  <a:pt x="512430" y="175456"/>
                </a:cubicBezTo>
                <a:cubicBezTo>
                  <a:pt x="502929" y="188335"/>
                  <a:pt x="495803" y="202429"/>
                  <a:pt x="491053" y="217736"/>
                </a:cubicBezTo>
                <a:lnTo>
                  <a:pt x="489521" y="224578"/>
                </a:lnTo>
                <a:lnTo>
                  <a:pt x="492794" y="224228"/>
                </a:lnTo>
                <a:cubicBezTo>
                  <a:pt x="525732" y="224228"/>
                  <a:pt x="553813" y="236474"/>
                  <a:pt x="577038" y="260966"/>
                </a:cubicBezTo>
                <a:cubicBezTo>
                  <a:pt x="600263" y="285458"/>
                  <a:pt x="611876" y="315440"/>
                  <a:pt x="611876" y="350911"/>
                </a:cubicBezTo>
                <a:cubicBezTo>
                  <a:pt x="611876" y="387227"/>
                  <a:pt x="599841" y="418053"/>
                  <a:pt x="575772" y="443389"/>
                </a:cubicBezTo>
                <a:cubicBezTo>
                  <a:pt x="551702" y="468726"/>
                  <a:pt x="521509" y="481394"/>
                  <a:pt x="485194" y="481394"/>
                </a:cubicBezTo>
                <a:cubicBezTo>
                  <a:pt x="441277" y="481394"/>
                  <a:pt x="404328" y="464925"/>
                  <a:pt x="374346" y="431988"/>
                </a:cubicBezTo>
                <a:cubicBezTo>
                  <a:pt x="344365" y="399050"/>
                  <a:pt x="329374" y="355556"/>
                  <a:pt x="329374" y="301505"/>
                </a:cubicBezTo>
                <a:cubicBezTo>
                  <a:pt x="329374" y="230563"/>
                  <a:pt x="350699" y="169122"/>
                  <a:pt x="393349" y="117182"/>
                </a:cubicBezTo>
                <a:cubicBezTo>
                  <a:pt x="435998" y="65242"/>
                  <a:pt x="491950" y="26181"/>
                  <a:pt x="561203" y="0"/>
                </a:cubicBezTo>
                <a:close/>
                <a:moveTo>
                  <a:pt x="231829" y="0"/>
                </a:moveTo>
                <a:lnTo>
                  <a:pt x="282502" y="100080"/>
                </a:lnTo>
                <a:cubicBezTo>
                  <a:pt x="235207" y="124572"/>
                  <a:pt x="202058" y="149697"/>
                  <a:pt x="183056" y="175456"/>
                </a:cubicBezTo>
                <a:cubicBezTo>
                  <a:pt x="173555" y="188335"/>
                  <a:pt x="166429" y="202429"/>
                  <a:pt x="161678" y="217736"/>
                </a:cubicBezTo>
                <a:lnTo>
                  <a:pt x="160146" y="224578"/>
                </a:lnTo>
                <a:lnTo>
                  <a:pt x="163420" y="224228"/>
                </a:lnTo>
                <a:cubicBezTo>
                  <a:pt x="196357" y="224228"/>
                  <a:pt x="224439" y="236474"/>
                  <a:pt x="247664" y="260966"/>
                </a:cubicBezTo>
                <a:cubicBezTo>
                  <a:pt x="270889" y="285458"/>
                  <a:pt x="282501" y="315440"/>
                  <a:pt x="282502" y="350911"/>
                </a:cubicBezTo>
                <a:cubicBezTo>
                  <a:pt x="282501" y="387227"/>
                  <a:pt x="270467" y="418053"/>
                  <a:pt x="246397" y="443389"/>
                </a:cubicBezTo>
                <a:cubicBezTo>
                  <a:pt x="222327" y="468726"/>
                  <a:pt x="192135" y="481394"/>
                  <a:pt x="155819" y="481394"/>
                </a:cubicBezTo>
                <a:cubicBezTo>
                  <a:pt x="111902" y="481394"/>
                  <a:pt x="74953" y="464925"/>
                  <a:pt x="44972" y="431988"/>
                </a:cubicBezTo>
                <a:cubicBezTo>
                  <a:pt x="14990" y="399050"/>
                  <a:pt x="0" y="355556"/>
                  <a:pt x="0" y="301505"/>
                </a:cubicBezTo>
                <a:cubicBezTo>
                  <a:pt x="0" y="230563"/>
                  <a:pt x="21324" y="169122"/>
                  <a:pt x="63974" y="117182"/>
                </a:cubicBezTo>
                <a:cubicBezTo>
                  <a:pt x="106624" y="65242"/>
                  <a:pt x="162575" y="26181"/>
                  <a:pt x="231829" y="0"/>
                </a:cubicBezTo>
                <a:close/>
              </a:path>
            </a:pathLst>
          </a:custGeom>
          <a:noFill/>
          <a:ln w="25400">
            <a:solidFill>
              <a:srgbClr val="B8DEFF"/>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600"/>
              </a:spcBef>
            </a:pPr>
            <a:endParaRPr lang="en-US" sz="10000" b="1" i="0">
              <a:latin typeface="+mn-lt"/>
            </a:endParaRPr>
          </a:p>
        </p:txBody>
      </p:sp>
      <p:sp>
        <p:nvSpPr>
          <p:cNvPr id="2" name="Title 1">
            <a:extLst>
              <a:ext uri="{FF2B5EF4-FFF2-40B4-BE49-F238E27FC236}">
                <a16:creationId xmlns:a16="http://schemas.microsoft.com/office/drawing/2014/main" id="{8B478971-A225-4A64-8E00-AA9C8577611D}"/>
              </a:ext>
            </a:extLst>
          </p:cNvPr>
          <p:cNvSpPr>
            <a:spLocks noGrp="1"/>
          </p:cNvSpPr>
          <p:nvPr>
            <p:ph type="title" hasCustomPrompt="1"/>
          </p:nvPr>
        </p:nvSpPr>
        <p:spPr>
          <a:xfrm>
            <a:off x="773056" y="1009268"/>
            <a:ext cx="5718415" cy="4476115"/>
          </a:xfrm>
        </p:spPr>
        <p:txBody>
          <a:bodyPr anchor="ctr" anchorCtr="0"/>
          <a:lstStyle>
            <a:lvl1pPr marL="0" indent="0">
              <a:lnSpc>
                <a:spcPct val="100000"/>
              </a:lnSpc>
              <a:defRPr sz="2800">
                <a:latin typeface="+mj-lt"/>
              </a:defRPr>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Mauris </a:t>
            </a:r>
            <a:r>
              <a:rPr lang="en-US" err="1"/>
              <a:t>accum</a:t>
            </a:r>
            <a:r>
              <a:rPr lang="en-US"/>
              <a:t> </a:t>
            </a:r>
            <a:r>
              <a:rPr lang="en-US" err="1"/>
              <a:t>san</a:t>
            </a:r>
            <a:r>
              <a:rPr lang="en-US"/>
              <a:t> </a:t>
            </a:r>
            <a:r>
              <a:rPr lang="en-US" err="1"/>
              <a:t>urna</a:t>
            </a:r>
            <a:r>
              <a:rPr lang="en-US"/>
              <a:t>. Sus </a:t>
            </a:r>
            <a:r>
              <a:rPr lang="en-US" err="1"/>
              <a:t>pendisse</a:t>
            </a:r>
            <a:r>
              <a:rPr lang="en-US"/>
              <a:t> </a:t>
            </a:r>
            <a:r>
              <a:rPr lang="en-US" err="1"/>
              <a:t>sem</a:t>
            </a:r>
            <a:r>
              <a:rPr lang="en-US"/>
              <a:t> per semper </a:t>
            </a:r>
            <a:r>
              <a:rPr lang="en-US" err="1"/>
              <a:t>commodo</a:t>
            </a:r>
            <a:r>
              <a:rPr lang="en-US"/>
              <a:t>.”</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nvPr>
        </p:nvSpPr>
        <p:spPr>
          <a:xfrm>
            <a:off x="773056" y="5641514"/>
            <a:ext cx="5718415" cy="347472"/>
          </a:xfrm>
        </p:spPr>
        <p:txBody>
          <a:bodyPr/>
          <a:lstStyle>
            <a:lvl1pPr marL="0" indent="0">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3928" y="1346199"/>
            <a:ext cx="4690872" cy="429768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7825291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BC41137-E6C9-A053-8403-388C27EB8CE1}"/>
              </a:ext>
            </a:extLst>
          </p:cNvPr>
          <p:cNvSpPr txBox="1"/>
          <p:nvPr/>
        </p:nvSpPr>
        <p:spPr bwMode="ltGray">
          <a:xfrm>
            <a:off x="457200" y="1401620"/>
            <a:ext cx="1425191" cy="1121270"/>
          </a:xfrm>
          <a:custGeom>
            <a:avLst/>
            <a:gdLst/>
            <a:ahLst/>
            <a:cxnLst/>
            <a:rect l="l" t="t" r="r" b="b"/>
            <a:pathLst>
              <a:path w="611876" h="481394">
                <a:moveTo>
                  <a:pt x="561203" y="0"/>
                </a:moveTo>
                <a:lnTo>
                  <a:pt x="611876" y="100080"/>
                </a:lnTo>
                <a:cubicBezTo>
                  <a:pt x="564581" y="124572"/>
                  <a:pt x="531433" y="149697"/>
                  <a:pt x="512430" y="175456"/>
                </a:cubicBezTo>
                <a:cubicBezTo>
                  <a:pt x="502929" y="188335"/>
                  <a:pt x="495803" y="202429"/>
                  <a:pt x="491053" y="217736"/>
                </a:cubicBezTo>
                <a:lnTo>
                  <a:pt x="489521" y="224578"/>
                </a:lnTo>
                <a:lnTo>
                  <a:pt x="492794" y="224228"/>
                </a:lnTo>
                <a:cubicBezTo>
                  <a:pt x="525732" y="224228"/>
                  <a:pt x="553813" y="236474"/>
                  <a:pt x="577038" y="260966"/>
                </a:cubicBezTo>
                <a:cubicBezTo>
                  <a:pt x="600263" y="285458"/>
                  <a:pt x="611876" y="315440"/>
                  <a:pt x="611876" y="350911"/>
                </a:cubicBezTo>
                <a:cubicBezTo>
                  <a:pt x="611876" y="387227"/>
                  <a:pt x="599841" y="418053"/>
                  <a:pt x="575772" y="443389"/>
                </a:cubicBezTo>
                <a:cubicBezTo>
                  <a:pt x="551702" y="468726"/>
                  <a:pt x="521509" y="481394"/>
                  <a:pt x="485194" y="481394"/>
                </a:cubicBezTo>
                <a:cubicBezTo>
                  <a:pt x="441277" y="481394"/>
                  <a:pt x="404328" y="464925"/>
                  <a:pt x="374346" y="431988"/>
                </a:cubicBezTo>
                <a:cubicBezTo>
                  <a:pt x="344365" y="399050"/>
                  <a:pt x="329374" y="355556"/>
                  <a:pt x="329374" y="301505"/>
                </a:cubicBezTo>
                <a:cubicBezTo>
                  <a:pt x="329374" y="230563"/>
                  <a:pt x="350699" y="169122"/>
                  <a:pt x="393349" y="117182"/>
                </a:cubicBezTo>
                <a:cubicBezTo>
                  <a:pt x="435998" y="65242"/>
                  <a:pt x="491950" y="26181"/>
                  <a:pt x="561203" y="0"/>
                </a:cubicBezTo>
                <a:close/>
                <a:moveTo>
                  <a:pt x="231829" y="0"/>
                </a:moveTo>
                <a:lnTo>
                  <a:pt x="282502" y="100080"/>
                </a:lnTo>
                <a:cubicBezTo>
                  <a:pt x="235207" y="124572"/>
                  <a:pt x="202058" y="149697"/>
                  <a:pt x="183056" y="175456"/>
                </a:cubicBezTo>
                <a:cubicBezTo>
                  <a:pt x="173555" y="188335"/>
                  <a:pt x="166429" y="202429"/>
                  <a:pt x="161678" y="217736"/>
                </a:cubicBezTo>
                <a:lnTo>
                  <a:pt x="160146" y="224578"/>
                </a:lnTo>
                <a:lnTo>
                  <a:pt x="163420" y="224228"/>
                </a:lnTo>
                <a:cubicBezTo>
                  <a:pt x="196357" y="224228"/>
                  <a:pt x="224439" y="236474"/>
                  <a:pt x="247664" y="260966"/>
                </a:cubicBezTo>
                <a:cubicBezTo>
                  <a:pt x="270889" y="285458"/>
                  <a:pt x="282501" y="315440"/>
                  <a:pt x="282502" y="350911"/>
                </a:cubicBezTo>
                <a:cubicBezTo>
                  <a:pt x="282501" y="387227"/>
                  <a:pt x="270467" y="418053"/>
                  <a:pt x="246397" y="443389"/>
                </a:cubicBezTo>
                <a:cubicBezTo>
                  <a:pt x="222327" y="468726"/>
                  <a:pt x="192135" y="481394"/>
                  <a:pt x="155819" y="481394"/>
                </a:cubicBezTo>
                <a:cubicBezTo>
                  <a:pt x="111902" y="481394"/>
                  <a:pt x="74953" y="464925"/>
                  <a:pt x="44972" y="431988"/>
                </a:cubicBezTo>
                <a:cubicBezTo>
                  <a:pt x="14990" y="399050"/>
                  <a:pt x="0" y="355556"/>
                  <a:pt x="0" y="301505"/>
                </a:cubicBezTo>
                <a:cubicBezTo>
                  <a:pt x="0" y="230563"/>
                  <a:pt x="21324" y="169122"/>
                  <a:pt x="63974" y="117182"/>
                </a:cubicBezTo>
                <a:cubicBezTo>
                  <a:pt x="106624" y="65242"/>
                  <a:pt x="162575" y="26181"/>
                  <a:pt x="231829" y="0"/>
                </a:cubicBezTo>
                <a:close/>
              </a:path>
            </a:pathLst>
          </a:custGeom>
          <a:noFill/>
          <a:ln w="25400">
            <a:solidFill>
              <a:srgbClr val="B8DEFF"/>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600"/>
              </a:spcBef>
            </a:pPr>
            <a:endParaRPr lang="en-US" sz="10000" b="1" i="0">
              <a:latin typeface="+mn-lt"/>
            </a:endParaRPr>
          </a:p>
        </p:txBody>
      </p:sp>
      <p:sp>
        <p:nvSpPr>
          <p:cNvPr id="6" name="Title 1">
            <a:extLst>
              <a:ext uri="{FF2B5EF4-FFF2-40B4-BE49-F238E27FC236}">
                <a16:creationId xmlns:a16="http://schemas.microsoft.com/office/drawing/2014/main" id="{A5204F30-1AF4-524D-A3DC-8D6F9529A61E}"/>
              </a:ext>
            </a:extLst>
          </p:cNvPr>
          <p:cNvSpPr>
            <a:spLocks noGrp="1"/>
          </p:cNvSpPr>
          <p:nvPr>
            <p:ph type="title" hasCustomPrompt="1"/>
          </p:nvPr>
        </p:nvSpPr>
        <p:spPr>
          <a:xfrm>
            <a:off x="773054" y="995363"/>
            <a:ext cx="8086466" cy="4460875"/>
          </a:xfrm>
        </p:spPr>
        <p:txBody>
          <a:bodyPr anchor="ctr" anchorCtr="0"/>
          <a:lstStyle>
            <a:lvl1pPr marL="0" indent="0">
              <a:lnSpc>
                <a:spcPct val="100000"/>
              </a:lnSpc>
              <a:defRPr sz="28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Mauris </a:t>
            </a:r>
            <a:r>
              <a:rPr lang="en-US" err="1"/>
              <a:t>accum</a:t>
            </a:r>
            <a:r>
              <a:rPr lang="en-US"/>
              <a:t> </a:t>
            </a:r>
            <a:r>
              <a:rPr lang="en-US" err="1"/>
              <a:t>san</a:t>
            </a:r>
            <a:r>
              <a:rPr lang="en-US"/>
              <a:t> </a:t>
            </a:r>
            <a:r>
              <a:rPr lang="en-US" err="1"/>
              <a:t>urna</a:t>
            </a:r>
            <a:r>
              <a:rPr lang="en-US"/>
              <a:t>. Sus </a:t>
            </a:r>
            <a:r>
              <a:rPr lang="en-US" err="1"/>
              <a:t>pendisse</a:t>
            </a:r>
            <a:r>
              <a:rPr lang="en-US"/>
              <a:t> </a:t>
            </a:r>
            <a:r>
              <a:rPr lang="en-US" err="1"/>
              <a:t>sem</a:t>
            </a:r>
            <a:r>
              <a:rPr lang="en-US"/>
              <a:t> per semper </a:t>
            </a:r>
            <a:r>
              <a:rPr lang="en-US" err="1"/>
              <a:t>commodo</a:t>
            </a:r>
            <a:r>
              <a:rPr lang="en-US"/>
              <a:t>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nvPr>
        </p:nvSpPr>
        <p:spPr>
          <a:xfrm>
            <a:off x="773056" y="5641514"/>
            <a:ext cx="8086463" cy="347472"/>
          </a:xfrm>
        </p:spPr>
        <p:txBody>
          <a:bodyPr/>
          <a:lstStyle>
            <a:lvl1pPr marL="0" indent="0">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22499437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END">
    <p:bg>
      <p:bgPr>
        <a:solidFill>
          <a:srgbClr val="FFFF00"/>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A65764A-9DB5-E0B9-2854-737204071442}"/>
              </a:ext>
            </a:extLst>
          </p:cNvPr>
          <p:cNvSpPr txBox="1"/>
          <p:nvPr/>
        </p:nvSpPr>
        <p:spPr>
          <a:xfrm>
            <a:off x="208972" y="189623"/>
            <a:ext cx="11774056" cy="6555641"/>
          </a:xfrm>
          <a:prstGeom prst="rect">
            <a:avLst/>
          </a:prstGeom>
          <a:noFill/>
        </p:spPr>
        <p:txBody>
          <a:bodyPr wrap="none" lIns="0" rIns="0" rtlCol="0">
            <a:spAutoFit/>
          </a:bodyPr>
          <a:lstStyle/>
          <a:p>
            <a:pPr algn="ctr">
              <a:spcBef>
                <a:spcPts val="600"/>
              </a:spcBef>
            </a:pPr>
            <a:r>
              <a:rPr lang="en-US" sz="9600" dirty="0">
                <a:solidFill>
                  <a:srgbClr val="00002D"/>
                </a:solidFill>
                <a:latin typeface="+mj-lt"/>
              </a:rPr>
              <a:t>Don’t use this or any </a:t>
            </a:r>
            <a:br>
              <a:rPr lang="en-US" sz="9600" dirty="0">
                <a:solidFill>
                  <a:srgbClr val="00002D"/>
                </a:solidFill>
                <a:latin typeface="+mj-lt"/>
              </a:rPr>
            </a:br>
            <a:r>
              <a:rPr lang="en-US" sz="9600" dirty="0">
                <a:solidFill>
                  <a:srgbClr val="00002D"/>
                </a:solidFill>
                <a:latin typeface="+mj-lt"/>
              </a:rPr>
              <a:t>layouts after this.</a:t>
            </a:r>
            <a:endParaRPr lang="en-US" sz="4400" dirty="0">
              <a:solidFill>
                <a:srgbClr val="00002D"/>
              </a:solidFill>
              <a:latin typeface="+mj-lt"/>
            </a:endParaRPr>
          </a:p>
          <a:p>
            <a:pPr algn="ctr">
              <a:spcBef>
                <a:spcPts val="3600"/>
              </a:spcBef>
            </a:pPr>
            <a:r>
              <a:rPr lang="en-US" sz="6600" dirty="0">
                <a:solidFill>
                  <a:srgbClr val="00002D"/>
                </a:solidFill>
              </a:rPr>
              <a:t>Choose an appropriate </a:t>
            </a:r>
            <a:br>
              <a:rPr lang="en-US" sz="6600" dirty="0">
                <a:solidFill>
                  <a:srgbClr val="00002D"/>
                </a:solidFill>
              </a:rPr>
            </a:br>
            <a:r>
              <a:rPr lang="en-US" sz="6600" dirty="0">
                <a:solidFill>
                  <a:srgbClr val="00002D"/>
                </a:solidFill>
              </a:rPr>
              <a:t>layout from </a:t>
            </a:r>
            <a:br>
              <a:rPr lang="en-US" sz="6600" dirty="0">
                <a:solidFill>
                  <a:srgbClr val="00002D"/>
                </a:solidFill>
              </a:rPr>
            </a:br>
            <a:r>
              <a:rPr lang="en-US" sz="6600" b="1" dirty="0">
                <a:solidFill>
                  <a:srgbClr val="00002D"/>
                </a:solidFill>
              </a:rPr>
              <a:t>Home</a:t>
            </a:r>
            <a:r>
              <a:rPr lang="en-US" sz="6600" dirty="0">
                <a:solidFill>
                  <a:srgbClr val="00002D"/>
                </a:solidFill>
              </a:rPr>
              <a:t> &gt; </a:t>
            </a:r>
            <a:r>
              <a:rPr lang="en-US" sz="6600" b="1" dirty="0">
                <a:solidFill>
                  <a:srgbClr val="00002D"/>
                </a:solidFill>
              </a:rPr>
              <a:t>Layout gallery</a:t>
            </a:r>
            <a:r>
              <a:rPr lang="en-US" sz="6600" dirty="0">
                <a:solidFill>
                  <a:srgbClr val="00002D"/>
                </a:solidFill>
              </a:rPr>
              <a:t>.</a:t>
            </a:r>
          </a:p>
        </p:txBody>
      </p:sp>
      <p:sp>
        <p:nvSpPr>
          <p:cNvPr id="2" name="TextBox 1">
            <a:extLst>
              <a:ext uri="{FF2B5EF4-FFF2-40B4-BE49-F238E27FC236}">
                <a16:creationId xmlns:a16="http://schemas.microsoft.com/office/drawing/2014/main" id="{C79BCB47-00AD-DF01-2171-B288626052B6}"/>
              </a:ext>
            </a:extLst>
          </p:cNvPr>
          <p:cNvSpPr txBox="1"/>
          <p:nvPr/>
        </p:nvSpPr>
        <p:spPr>
          <a:xfrm>
            <a:off x="12346930" y="835909"/>
            <a:ext cx="2668480" cy="2539157"/>
          </a:xfrm>
          <a:prstGeom prst="rect">
            <a:avLst/>
          </a:prstGeom>
          <a:noFill/>
          <a:ln>
            <a:solidFill>
              <a:srgbClr val="707996"/>
            </a:solidFill>
          </a:ln>
        </p:spPr>
        <p:txBody>
          <a:bodyPr wrap="square" lIns="91440" rIns="91440" rtlCol="0">
            <a:spAutoFit/>
          </a:bodyPr>
          <a:lstStyle/>
          <a:p>
            <a:pPr algn="l">
              <a:spcBef>
                <a:spcPts val="600"/>
              </a:spcBef>
            </a:pPr>
            <a:r>
              <a:rPr lang="en-US" sz="1400" dirty="0">
                <a:solidFill>
                  <a:srgbClr val="00002D"/>
                </a:solidFill>
              </a:rPr>
              <a:t>When pasting legacy slides that doesn’t match any of the new layouts, PowerPoint adds it to the end of the layouts and prepends the layout name with a number (</a:t>
            </a:r>
            <a:r>
              <a:rPr lang="en-US" sz="1400" dirty="0" err="1">
                <a:solidFill>
                  <a:srgbClr val="00002D"/>
                </a:solidFill>
              </a:rPr>
              <a:t>1_Title</a:t>
            </a:r>
            <a:r>
              <a:rPr lang="en-US" sz="1400" dirty="0">
                <a:solidFill>
                  <a:srgbClr val="00002D"/>
                </a:solidFill>
              </a:rPr>
              <a:t> Slide, for example). </a:t>
            </a:r>
          </a:p>
          <a:p>
            <a:pPr algn="l">
              <a:spcBef>
                <a:spcPts val="600"/>
              </a:spcBef>
            </a:pPr>
            <a:r>
              <a:rPr lang="en-US" sz="1400" dirty="0">
                <a:solidFill>
                  <a:srgbClr val="00002D"/>
                </a:solidFill>
              </a:rPr>
              <a:t>These “orphaned” layouts should not be used, instead choose from the layouts preceding this one. </a:t>
            </a:r>
          </a:p>
        </p:txBody>
      </p:sp>
    </p:spTree>
    <p:extLst>
      <p:ext uri="{BB962C8B-B14F-4D97-AF65-F5344CB8AC3E}">
        <p14:creationId xmlns:p14="http://schemas.microsoft.com/office/powerpoint/2010/main" val="21050724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3.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2.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image" Target="../media/image1.pn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image" Target="../media/image1.pn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heme" Target="../theme/theme4.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image" Target="../media/image3.png"/><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theme" Target="../theme/theme5.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image" Target="../media/image1.png"/><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theme" Target="../theme/theme6.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dirty="0">
                <a:solidFill>
                  <a:schemeClr val="tx1"/>
                </a:solidFill>
              </a:rPr>
              <a:t>	RESTRICTED © 2026 Gartner, Inc. and/or its affiliates. All rights reserved.</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18">
            <a:extLst>
              <a:ext uri="{28A0092B-C50C-407E-A947-70E740481C1C}">
                <a14:useLocalDpi xmlns:a14="http://schemas.microsoft.com/office/drawing/2010/main" val="0"/>
              </a:ext>
            </a:extLst>
          </a:blip>
          <a:srcRect t="226" b="226"/>
          <a:stretch/>
        </p:blipFill>
        <p:spPr>
          <a:xfrm>
            <a:off x="10454640" y="6239533"/>
            <a:ext cx="1350666" cy="307571"/>
          </a:xfrm>
          <a:prstGeom prst="rect">
            <a:avLst/>
          </a:prstGeom>
        </p:spPr>
      </p:pic>
    </p:spTree>
    <p:extLst>
      <p:ext uri="{BB962C8B-B14F-4D97-AF65-F5344CB8AC3E}">
        <p14:creationId xmlns:p14="http://schemas.microsoft.com/office/powerpoint/2010/main" val="377813297"/>
      </p:ext>
    </p:extLst>
  </p:cSld>
  <p:clrMap bg1="lt1" tx1="dk1" bg2="lt2" tx2="dk2" accent1="accent1" accent2="accent2" accent3="accent3" accent4="accent4" accent5="accent5" accent6="accent6" hlink="hlink" folHlink="folHlink"/>
  <p:sldLayoutIdLst>
    <p:sldLayoutId id="2147483852" r:id="rId1"/>
    <p:sldLayoutId id="2147483929" r:id="rId2"/>
    <p:sldLayoutId id="2147483854" r:id="rId3"/>
    <p:sldLayoutId id="2147483855" r:id="rId4"/>
    <p:sldLayoutId id="2147483856" r:id="rId5"/>
    <p:sldLayoutId id="2147483857" r:id="rId6"/>
    <p:sldLayoutId id="2147483858" r:id="rId7"/>
    <p:sldLayoutId id="2147483859" r:id="rId8"/>
    <p:sldLayoutId id="2147483860" r:id="rId9"/>
    <p:sldLayoutId id="2147483943" r:id="rId10"/>
    <p:sldLayoutId id="2147483944" r:id="rId11"/>
    <p:sldLayoutId id="2147483948" r:id="rId12"/>
    <p:sldLayoutId id="2147483947" r:id="rId13"/>
    <p:sldLayoutId id="2147483867" r:id="rId14"/>
    <p:sldLayoutId id="2147483941" r:id="rId15"/>
    <p:sldLayoutId id="2147483949" r:id="rId16"/>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100000"/>
        </a:lnSpc>
        <a:spcBef>
          <a:spcPts val="0"/>
        </a:spcBef>
        <a:spcAft>
          <a:spcPts val="0"/>
        </a:spcAft>
        <a:buNone/>
        <a:defRPr sz="2800" kern="1200">
          <a:solidFill>
            <a:schemeClr val="tx2"/>
          </a:solidFill>
          <a:latin typeface="Gartner Sans" panose="020B0504030402040204" pitchFamily="34" charset="77"/>
          <a:ea typeface="+mj-ea"/>
          <a:cs typeface="+mj-cs"/>
        </a:defRPr>
      </a:lvl1pPr>
    </p:titleStyle>
    <p:bodyStyle>
      <a:lvl1pPr marL="228600" indent="-228600" algn="l" defTabSz="914400" rtl="0" eaLnBrk="1" latinLnBrk="0" hangingPunct="1">
        <a:lnSpc>
          <a:spcPct val="100000"/>
        </a:lnSpc>
        <a:spcBef>
          <a:spcPts val="1200"/>
        </a:spcBef>
        <a:spcAft>
          <a:spcPts val="0"/>
        </a:spcAft>
        <a:buSzPct val="100000"/>
        <a:buFont typeface="Arial" panose="020B0604020202020204" pitchFamily="34" charset="0"/>
        <a:buChar char="•"/>
        <a:defRPr sz="2000" kern="1200">
          <a:solidFill>
            <a:schemeClr val="tx1"/>
          </a:solidFill>
          <a:latin typeface="Gartner Sans" panose="020B0504030402040204" pitchFamily="34" charset="77"/>
          <a:ea typeface="+mn-ea"/>
          <a:cs typeface="+mn-cs"/>
        </a:defRPr>
      </a:lvl1pPr>
      <a:lvl2pPr marL="630936" indent="-292608" algn="l" defTabSz="914400" rtl="0" eaLnBrk="1" latinLnBrk="0" hangingPunct="1">
        <a:lnSpc>
          <a:spcPct val="100000"/>
        </a:lnSpc>
        <a:spcBef>
          <a:spcPts val="1200"/>
        </a:spcBef>
        <a:spcAft>
          <a:spcPts val="0"/>
        </a:spcAft>
        <a:buSzPct val="100000"/>
        <a:buFont typeface="Arial" panose="020B0604020202020204" pitchFamily="34" charset="0"/>
        <a:buChar char="–"/>
        <a:defRPr sz="2000" kern="1200">
          <a:solidFill>
            <a:schemeClr val="tx1"/>
          </a:solidFill>
          <a:latin typeface="Gartner Sans" panose="020B0504030402040204" pitchFamily="34" charset="77"/>
          <a:ea typeface="+mn-ea"/>
          <a:cs typeface="+mn-cs"/>
        </a:defRPr>
      </a:lvl2pPr>
      <a:lvl3pPr marL="978408" indent="-228600" algn="l" defTabSz="914400" rtl="0" eaLnBrk="1" latinLnBrk="0" hangingPunct="1">
        <a:lnSpc>
          <a:spcPct val="100000"/>
        </a:lnSpc>
        <a:spcBef>
          <a:spcPts val="1200"/>
        </a:spcBef>
        <a:spcAft>
          <a:spcPts val="0"/>
        </a:spcAft>
        <a:buSzPct val="100000"/>
        <a:buFont typeface="Arial" panose="020B0604020202020204" pitchFamily="34" charset="0"/>
        <a:buChar char="•"/>
        <a:defRPr sz="2000" kern="1200">
          <a:solidFill>
            <a:schemeClr val="tx1"/>
          </a:solidFill>
          <a:latin typeface="Gartner Sans" panose="020B0504030402040204" pitchFamily="34" charset="77"/>
          <a:ea typeface="+mn-ea"/>
          <a:cs typeface="+mn-cs"/>
        </a:defRPr>
      </a:lvl3pPr>
      <a:lvl4pPr marL="1380744" indent="-292608" algn="l" defTabSz="914400" rtl="0" eaLnBrk="1" latinLnBrk="0" hangingPunct="1">
        <a:lnSpc>
          <a:spcPct val="100000"/>
        </a:lnSpc>
        <a:spcBef>
          <a:spcPts val="1200"/>
        </a:spcBef>
        <a:spcAft>
          <a:spcPts val="0"/>
        </a:spcAft>
        <a:buSzPct val="100000"/>
        <a:buFont typeface="Arial" panose="020B0604020202020204" pitchFamily="34" charset="0"/>
        <a:buChar char="–"/>
        <a:tabLst/>
        <a:defRPr sz="2000" kern="1200">
          <a:solidFill>
            <a:schemeClr val="tx1"/>
          </a:solidFill>
          <a:latin typeface="Gartner Sans" panose="020B0504030402040204" pitchFamily="34" charset="77"/>
          <a:ea typeface="+mn-ea"/>
          <a:cs typeface="+mn-cs"/>
        </a:defRPr>
      </a:lvl4pPr>
      <a:lvl5pPr marL="1719072" indent="-228600" algn="l" defTabSz="914400" rtl="0" eaLnBrk="1" latinLnBrk="0" hangingPunct="1">
        <a:lnSpc>
          <a:spcPct val="100000"/>
        </a:lnSpc>
        <a:spcBef>
          <a:spcPts val="1200"/>
        </a:spcBef>
        <a:spcAft>
          <a:spcPts val="0"/>
        </a:spcAft>
        <a:buFont typeface="Arial" panose="020B0604020202020204" pitchFamily="34" charset="0"/>
        <a:buChar char="•"/>
        <a:tabLst/>
        <a:defRPr sz="2000" kern="1200">
          <a:solidFill>
            <a:schemeClr val="tx1"/>
          </a:solidFill>
          <a:latin typeface="Gartner Sans" panose="020B050403040204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285494"/>
            <a:ext cx="7306056" cy="261610"/>
          </a:xfrm>
          <a:prstGeom prst="rect">
            <a:avLst/>
          </a:prstGeom>
          <a:noFill/>
        </p:spPr>
        <p:txBody>
          <a:bodyPr wrap="square" lIns="0" tIns="0" rIns="0" bIns="0" rtlCol="0" anchor="b" anchorCtr="0">
            <a:spAutoFit/>
          </a:bodyPr>
          <a:lstStyle/>
          <a:p>
            <a:pPr marL="228600" marR="0" lvl="0" indent="-228600" algn="l" defTabSz="457200" rtl="0" eaLnBrk="1" fontAlgn="auto" latinLnBrk="0" hangingPunct="1">
              <a:lnSpc>
                <a:spcPct val="100000"/>
              </a:lnSpc>
              <a:spcBef>
                <a:spcPts val="0"/>
              </a:spcBef>
              <a:spcAft>
                <a:spcPts val="0"/>
              </a:spcAft>
              <a:buClrTx/>
              <a:buSzTx/>
              <a:buFontTx/>
              <a:buNone/>
              <a:tabLst/>
              <a:defRPr/>
            </a:pPr>
            <a:fld id="{E19460A7-1930-4D5F-A936-CB6F16095A68}" type="slidenum">
              <a:rPr lang="en-US" sz="1000" b="0" smtClean="0">
                <a:solidFill>
                  <a:schemeClr val="tx1"/>
                </a:solidFill>
              </a:rPr>
              <a:pPr marL="228600" marR="0" lvl="0" indent="-228600" algn="l" defTabSz="457200" rtl="0" eaLnBrk="1" fontAlgn="auto" latinLnBrk="0" hangingPunct="1">
                <a:lnSpc>
                  <a:spcPct val="100000"/>
                </a:lnSpc>
                <a:spcBef>
                  <a:spcPts val="0"/>
                </a:spcBef>
                <a:spcAft>
                  <a:spcPts val="0"/>
                </a:spcAft>
                <a:buClrTx/>
                <a:buSzTx/>
                <a:buFontTx/>
                <a:buNone/>
                <a:tabLst/>
                <a:defRPr/>
              </a:pPr>
              <a:t>‹#›</a:t>
            </a:fld>
            <a:r>
              <a:rPr lang="en-US" sz="700" b="0" dirty="0">
                <a:solidFill>
                  <a:schemeClr val="tx1"/>
                </a:solidFill>
              </a:rPr>
              <a:t>	RESTRICTED © 2026 Gartner, Inc. and/or its affiliates. All rights reserved. </a:t>
            </a:r>
            <a:r>
              <a:rPr lang="en-US" sz="700" spc="-10" dirty="0">
                <a:solidFill>
                  <a:schemeClr val="tx1"/>
                </a:solidFill>
                <a:latin typeface="+mn-lt"/>
                <a:cs typeface="Lucida Sans Unicode"/>
              </a:rPr>
              <a:t>CM_GBS_4746450</a:t>
            </a:r>
            <a:endParaRPr lang="en-US" sz="700" b="0" dirty="0">
              <a:solidFill>
                <a:schemeClr val="tx1"/>
              </a:solidFill>
              <a:latin typeface="+mn-lt"/>
            </a:endParaRPr>
          </a:p>
          <a:p>
            <a:pPr marL="228600" indent="-228600"/>
            <a:endParaRPr lang="en-US" sz="700" b="0" dirty="0">
              <a:solidFill>
                <a:schemeClr val="tx1"/>
              </a:solidFill>
            </a:endParaRP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18">
            <a:extLst>
              <a:ext uri="{28A0092B-C50C-407E-A947-70E740481C1C}">
                <a14:useLocalDpi xmlns:a14="http://schemas.microsoft.com/office/drawing/2010/main" val="0"/>
              </a:ext>
            </a:extLst>
          </a:blip>
          <a:srcRect t="217" b="217"/>
          <a:stretch/>
        </p:blipFill>
        <p:spPr>
          <a:xfrm>
            <a:off x="10454640" y="6239533"/>
            <a:ext cx="1350441" cy="307571"/>
          </a:xfrm>
          <a:prstGeom prst="rect">
            <a:avLst/>
          </a:prstGeom>
        </p:spPr>
      </p:pic>
    </p:spTree>
    <p:extLst>
      <p:ext uri="{BB962C8B-B14F-4D97-AF65-F5344CB8AC3E}">
        <p14:creationId xmlns:p14="http://schemas.microsoft.com/office/powerpoint/2010/main" val="1624709770"/>
      </p:ext>
    </p:extLst>
  </p:cSld>
  <p:clrMap bg1="dk1" tx1="lt1" bg2="dk2" tx2="lt2" accent1="accent1" accent2="accent2" accent3="accent3" accent4="accent4" accent5="accent5" accent6="accent6" hlink="hlink" folHlink="folHlink"/>
  <p:sldLayoutIdLst>
    <p:sldLayoutId id="2147483954" r:id="rId1"/>
    <p:sldLayoutId id="2147483953" r:id="rId2"/>
    <p:sldLayoutId id="2147483955" r:id="rId3"/>
    <p:sldLayoutId id="2147483956" r:id="rId4"/>
    <p:sldLayoutId id="2147483957" r:id="rId5"/>
    <p:sldLayoutId id="2147483958" r:id="rId6"/>
    <p:sldLayoutId id="2147483959" r:id="rId7"/>
    <p:sldLayoutId id="2147483960" r:id="rId8"/>
    <p:sldLayoutId id="2147483961" r:id="rId9"/>
    <p:sldLayoutId id="2147483962" r:id="rId10"/>
    <p:sldLayoutId id="2147483963" r:id="rId11"/>
    <p:sldLayoutId id="2147483964" r:id="rId12"/>
    <p:sldLayoutId id="2147483965" r:id="rId13"/>
    <p:sldLayoutId id="2147483966" r:id="rId14"/>
    <p:sldLayoutId id="2147483967" r:id="rId15"/>
    <p:sldLayoutId id="2147483985" r:id="rId16"/>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100000"/>
        </a:lnSpc>
        <a:spcBef>
          <a:spcPts val="0"/>
        </a:spcBef>
        <a:spcAft>
          <a:spcPts val="0"/>
        </a:spcAft>
        <a:buNone/>
        <a:defRPr sz="28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200"/>
        </a:spcBef>
        <a:spcAft>
          <a:spcPts val="0"/>
        </a:spcAft>
        <a:buSzPct val="100000"/>
        <a:buFont typeface="Arial" panose="020B0604020202020204" pitchFamily="34" charset="0"/>
        <a:buChar char="•"/>
        <a:defRPr sz="2000" kern="1200">
          <a:solidFill>
            <a:schemeClr val="tx1"/>
          </a:solidFill>
          <a:latin typeface="+mn-lt"/>
          <a:ea typeface="+mn-ea"/>
          <a:cs typeface="+mn-cs"/>
        </a:defRPr>
      </a:lvl1pPr>
      <a:lvl2pPr marL="630936" indent="-292608" algn="l" defTabSz="914400" rtl="0" eaLnBrk="1" latinLnBrk="0" hangingPunct="1">
        <a:lnSpc>
          <a:spcPct val="100000"/>
        </a:lnSpc>
        <a:spcBef>
          <a:spcPts val="1200"/>
        </a:spcBef>
        <a:spcAft>
          <a:spcPts val="0"/>
        </a:spcAft>
        <a:buSzPct val="100000"/>
        <a:buFont typeface="Arial" panose="020B0604020202020204" pitchFamily="34" charset="0"/>
        <a:buChar char="–"/>
        <a:defRPr sz="2000" kern="1200">
          <a:solidFill>
            <a:schemeClr val="tx1"/>
          </a:solidFill>
          <a:latin typeface="+mn-lt"/>
          <a:ea typeface="+mn-ea"/>
          <a:cs typeface="+mn-cs"/>
        </a:defRPr>
      </a:lvl2pPr>
      <a:lvl3pPr marL="978408" indent="-228600" algn="l" defTabSz="914400" rtl="0" eaLnBrk="1" latinLnBrk="0" hangingPunct="1">
        <a:lnSpc>
          <a:spcPct val="100000"/>
        </a:lnSpc>
        <a:spcBef>
          <a:spcPts val="1200"/>
        </a:spcBef>
        <a:spcAft>
          <a:spcPts val="0"/>
        </a:spcAft>
        <a:buSzPct val="100000"/>
        <a:buFont typeface="Arial" panose="020B0604020202020204" pitchFamily="34" charset="0"/>
        <a:buChar char="•"/>
        <a:defRPr sz="2000" kern="1200">
          <a:solidFill>
            <a:schemeClr val="tx1"/>
          </a:solidFill>
          <a:latin typeface="+mn-lt"/>
          <a:ea typeface="+mn-ea"/>
          <a:cs typeface="+mn-cs"/>
        </a:defRPr>
      </a:lvl3pPr>
      <a:lvl4pPr marL="1380744" indent="-292608" algn="l" defTabSz="914400" rtl="0" eaLnBrk="1" latinLnBrk="0" hangingPunct="1">
        <a:lnSpc>
          <a:spcPct val="100000"/>
        </a:lnSpc>
        <a:spcBef>
          <a:spcPts val="1200"/>
        </a:spcBef>
        <a:spcAft>
          <a:spcPts val="0"/>
        </a:spcAft>
        <a:buSzPct val="100000"/>
        <a:buFont typeface="Arial" panose="020B0604020202020204" pitchFamily="34" charset="0"/>
        <a:buChar char="–"/>
        <a:tabLst/>
        <a:defRPr sz="2000" kern="1200">
          <a:solidFill>
            <a:schemeClr val="tx1"/>
          </a:solidFill>
          <a:latin typeface="+mn-lt"/>
          <a:ea typeface="+mn-ea"/>
          <a:cs typeface="+mn-cs"/>
        </a:defRPr>
      </a:lvl4pPr>
      <a:lvl5pPr marL="1719072" indent="-228600" algn="l" defTabSz="914400" rtl="0" eaLnBrk="1" latinLnBrk="0" hangingPunct="1">
        <a:lnSpc>
          <a:spcPct val="100000"/>
        </a:lnSpc>
        <a:spcBef>
          <a:spcPts val="1200"/>
        </a:spcBef>
        <a:spcAft>
          <a:spcPts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0F1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a:solidFill>
                  <a:schemeClr val="tx1"/>
                </a:solidFill>
              </a:rPr>
              <a:t>	RESTRICTED © 2026 Gartner, Inc. and/or its affiliates. All rights reserved.</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18">
            <a:extLst>
              <a:ext uri="{28A0092B-C50C-407E-A947-70E740481C1C}">
                <a14:useLocalDpi xmlns:a14="http://schemas.microsoft.com/office/drawing/2010/main" val="0"/>
              </a:ext>
            </a:extLst>
          </a:blip>
          <a:srcRect t="226" b="226"/>
          <a:stretch/>
        </p:blipFill>
        <p:spPr>
          <a:xfrm>
            <a:off x="10454640" y="6239533"/>
            <a:ext cx="1350666" cy="307571"/>
          </a:xfrm>
          <a:prstGeom prst="rect">
            <a:avLst/>
          </a:prstGeom>
        </p:spPr>
      </p:pic>
    </p:spTree>
    <p:extLst>
      <p:ext uri="{BB962C8B-B14F-4D97-AF65-F5344CB8AC3E}">
        <p14:creationId xmlns:p14="http://schemas.microsoft.com/office/powerpoint/2010/main" val="2602401083"/>
      </p:ext>
    </p:extLst>
  </p:cSld>
  <p:clrMap bg1="lt1" tx1="dk1" bg2="lt2" tx2="dk2" accent1="accent1" accent2="accent2" accent3="accent3" accent4="accent4" accent5="accent5" accent6="accent6" hlink="hlink" folHlink="folHlink"/>
  <p:sldLayoutIdLst>
    <p:sldLayoutId id="2147483971" r:id="rId1"/>
    <p:sldLayoutId id="2147483970"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6" r:id="rId16"/>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100000"/>
        </a:lnSpc>
        <a:spcBef>
          <a:spcPts val="0"/>
        </a:spcBef>
        <a:spcAft>
          <a:spcPts val="0"/>
        </a:spcAft>
        <a:buNone/>
        <a:defRPr sz="28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200"/>
        </a:spcBef>
        <a:spcAft>
          <a:spcPts val="0"/>
        </a:spcAft>
        <a:buSzPct val="100000"/>
        <a:buFont typeface="Arial" panose="020B0604020202020204" pitchFamily="34" charset="0"/>
        <a:buChar char="•"/>
        <a:defRPr sz="2000" kern="1200">
          <a:solidFill>
            <a:schemeClr val="tx1"/>
          </a:solidFill>
          <a:latin typeface="+mn-lt"/>
          <a:ea typeface="+mn-ea"/>
          <a:cs typeface="+mn-cs"/>
        </a:defRPr>
      </a:lvl1pPr>
      <a:lvl2pPr marL="630936" indent="-292608" algn="l" defTabSz="914400" rtl="0" eaLnBrk="1" latinLnBrk="0" hangingPunct="1">
        <a:lnSpc>
          <a:spcPct val="100000"/>
        </a:lnSpc>
        <a:spcBef>
          <a:spcPts val="1200"/>
        </a:spcBef>
        <a:spcAft>
          <a:spcPts val="0"/>
        </a:spcAft>
        <a:buSzPct val="100000"/>
        <a:buFont typeface="Arial" panose="020B0604020202020204" pitchFamily="34" charset="0"/>
        <a:buChar char="–"/>
        <a:defRPr sz="2000" kern="1200">
          <a:solidFill>
            <a:schemeClr val="tx1"/>
          </a:solidFill>
          <a:latin typeface="+mn-lt"/>
          <a:ea typeface="+mn-ea"/>
          <a:cs typeface="+mn-cs"/>
        </a:defRPr>
      </a:lvl2pPr>
      <a:lvl3pPr marL="978408" indent="-228600" algn="l" defTabSz="914400" rtl="0" eaLnBrk="1" latinLnBrk="0" hangingPunct="1">
        <a:lnSpc>
          <a:spcPct val="100000"/>
        </a:lnSpc>
        <a:spcBef>
          <a:spcPts val="1200"/>
        </a:spcBef>
        <a:spcAft>
          <a:spcPts val="0"/>
        </a:spcAft>
        <a:buSzPct val="100000"/>
        <a:buFont typeface="Arial" panose="020B0604020202020204" pitchFamily="34" charset="0"/>
        <a:buChar char="•"/>
        <a:defRPr sz="2000" kern="1200">
          <a:solidFill>
            <a:schemeClr val="tx1"/>
          </a:solidFill>
          <a:latin typeface="+mn-lt"/>
          <a:ea typeface="+mn-ea"/>
          <a:cs typeface="+mn-cs"/>
        </a:defRPr>
      </a:lvl3pPr>
      <a:lvl4pPr marL="1380744" indent="-292608" algn="l" defTabSz="914400" rtl="0" eaLnBrk="1" latinLnBrk="0" hangingPunct="1">
        <a:lnSpc>
          <a:spcPct val="100000"/>
        </a:lnSpc>
        <a:spcBef>
          <a:spcPts val="1200"/>
        </a:spcBef>
        <a:spcAft>
          <a:spcPts val="0"/>
        </a:spcAft>
        <a:buSzPct val="100000"/>
        <a:buFont typeface="Arial" panose="020B0604020202020204" pitchFamily="34" charset="0"/>
        <a:buChar char="–"/>
        <a:tabLst/>
        <a:defRPr sz="2000" kern="1200">
          <a:solidFill>
            <a:schemeClr val="tx1"/>
          </a:solidFill>
          <a:latin typeface="+mn-lt"/>
          <a:ea typeface="+mn-ea"/>
          <a:cs typeface="+mn-cs"/>
        </a:defRPr>
      </a:lvl4pPr>
      <a:lvl5pPr marL="1719072" indent="-228600" algn="l" defTabSz="914400" rtl="0" eaLnBrk="1" latinLnBrk="0" hangingPunct="1">
        <a:lnSpc>
          <a:spcPct val="100000"/>
        </a:lnSpc>
        <a:spcBef>
          <a:spcPts val="1200"/>
        </a:spcBef>
        <a:spcAft>
          <a:spcPts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a:solidFill>
                  <a:schemeClr val="tx1"/>
                </a:solidFill>
              </a:rPr>
              <a:t>	RESTRICTED © 2026 Gartner, Inc. and/or its affiliates. All rights reserved.</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18">
            <a:extLst>
              <a:ext uri="{28A0092B-C50C-407E-A947-70E740481C1C}">
                <a14:useLocalDpi xmlns:a14="http://schemas.microsoft.com/office/drawing/2010/main" val="0"/>
              </a:ext>
            </a:extLst>
          </a:blip>
          <a:srcRect t="226" b="226"/>
          <a:stretch/>
        </p:blipFill>
        <p:spPr>
          <a:xfrm>
            <a:off x="10454640" y="6239533"/>
            <a:ext cx="1350666" cy="307571"/>
          </a:xfrm>
          <a:prstGeom prst="rect">
            <a:avLst/>
          </a:prstGeom>
        </p:spPr>
      </p:pic>
    </p:spTree>
    <p:extLst>
      <p:ext uri="{BB962C8B-B14F-4D97-AF65-F5344CB8AC3E}">
        <p14:creationId xmlns:p14="http://schemas.microsoft.com/office/powerpoint/2010/main" val="2057790201"/>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 id="2147484001" r:id="rId12"/>
    <p:sldLayoutId id="2147484002" r:id="rId13"/>
    <p:sldLayoutId id="2147484003" r:id="rId14"/>
    <p:sldLayoutId id="2147484004" r:id="rId15"/>
    <p:sldLayoutId id="2147484005" r:id="rId16"/>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100000"/>
        </a:lnSpc>
        <a:spcBef>
          <a:spcPts val="0"/>
        </a:spcBef>
        <a:spcAft>
          <a:spcPts val="0"/>
        </a:spcAft>
        <a:buNone/>
        <a:defRPr sz="28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200"/>
        </a:spcBef>
        <a:spcAft>
          <a:spcPts val="0"/>
        </a:spcAft>
        <a:buSzPct val="100000"/>
        <a:buFont typeface="Arial" panose="020B0604020202020204" pitchFamily="34" charset="0"/>
        <a:buChar char="•"/>
        <a:defRPr sz="2000" kern="1200">
          <a:solidFill>
            <a:schemeClr val="tx1"/>
          </a:solidFill>
          <a:latin typeface="+mn-lt"/>
          <a:ea typeface="+mn-ea"/>
          <a:cs typeface="+mn-cs"/>
        </a:defRPr>
      </a:lvl1pPr>
      <a:lvl2pPr marL="630936" indent="-292608" algn="l" defTabSz="914400" rtl="0" eaLnBrk="1" latinLnBrk="0" hangingPunct="1">
        <a:lnSpc>
          <a:spcPct val="100000"/>
        </a:lnSpc>
        <a:spcBef>
          <a:spcPts val="1200"/>
        </a:spcBef>
        <a:spcAft>
          <a:spcPts val="0"/>
        </a:spcAft>
        <a:buSzPct val="100000"/>
        <a:buFont typeface="Arial" panose="020B0604020202020204" pitchFamily="34" charset="0"/>
        <a:buChar char="–"/>
        <a:defRPr sz="2000" kern="1200">
          <a:solidFill>
            <a:schemeClr val="tx1"/>
          </a:solidFill>
          <a:latin typeface="+mn-lt"/>
          <a:ea typeface="+mn-ea"/>
          <a:cs typeface="+mn-cs"/>
        </a:defRPr>
      </a:lvl2pPr>
      <a:lvl3pPr marL="978408" indent="-228600" algn="l" defTabSz="914400" rtl="0" eaLnBrk="1" latinLnBrk="0" hangingPunct="1">
        <a:lnSpc>
          <a:spcPct val="100000"/>
        </a:lnSpc>
        <a:spcBef>
          <a:spcPts val="1200"/>
        </a:spcBef>
        <a:spcAft>
          <a:spcPts val="0"/>
        </a:spcAft>
        <a:buSzPct val="100000"/>
        <a:buFont typeface="Arial" panose="020B0604020202020204" pitchFamily="34" charset="0"/>
        <a:buChar char="•"/>
        <a:defRPr sz="2000" kern="1200">
          <a:solidFill>
            <a:schemeClr val="tx1"/>
          </a:solidFill>
          <a:latin typeface="+mn-lt"/>
          <a:ea typeface="+mn-ea"/>
          <a:cs typeface="+mn-cs"/>
        </a:defRPr>
      </a:lvl3pPr>
      <a:lvl4pPr marL="1380744" indent="-292608" algn="l" defTabSz="914400" rtl="0" eaLnBrk="1" latinLnBrk="0" hangingPunct="1">
        <a:lnSpc>
          <a:spcPct val="100000"/>
        </a:lnSpc>
        <a:spcBef>
          <a:spcPts val="1200"/>
        </a:spcBef>
        <a:spcAft>
          <a:spcPts val="0"/>
        </a:spcAft>
        <a:buSzPct val="100000"/>
        <a:buFont typeface="Arial" panose="020B0604020202020204" pitchFamily="34" charset="0"/>
        <a:buChar char="–"/>
        <a:tabLst/>
        <a:defRPr sz="2000" kern="1200">
          <a:solidFill>
            <a:schemeClr val="tx1"/>
          </a:solidFill>
          <a:latin typeface="+mn-lt"/>
          <a:ea typeface="+mn-ea"/>
          <a:cs typeface="+mn-cs"/>
        </a:defRPr>
      </a:lvl4pPr>
      <a:lvl5pPr marL="1719072" indent="-228600" algn="l" defTabSz="914400" rtl="0" eaLnBrk="1" latinLnBrk="0" hangingPunct="1">
        <a:lnSpc>
          <a:spcPct val="100000"/>
        </a:lnSpc>
        <a:spcBef>
          <a:spcPts val="1200"/>
        </a:spcBef>
        <a:spcAft>
          <a:spcPts val="0"/>
        </a:spcAft>
        <a:buFont typeface="Arial" panose="020B0604020202020204" pitchFamily="34" charset="0"/>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p15:clr>
            <a:srgbClr val="9FCC3B"/>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a:solidFill>
                  <a:schemeClr val="tx1"/>
                </a:solidFill>
              </a:rPr>
              <a:t>	RESTRICTED © 2026 Gartner, Inc. and/or its affiliates. All rights reserved.</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18">
            <a:extLst>
              <a:ext uri="{28A0092B-C50C-407E-A947-70E740481C1C}">
                <a14:useLocalDpi xmlns:a14="http://schemas.microsoft.com/office/drawing/2010/main" val="0"/>
              </a:ext>
            </a:extLst>
          </a:blip>
          <a:srcRect t="217" b="217"/>
          <a:stretch/>
        </p:blipFill>
        <p:spPr>
          <a:xfrm>
            <a:off x="10454640" y="6239533"/>
            <a:ext cx="1350441" cy="307571"/>
          </a:xfrm>
          <a:prstGeom prst="rect">
            <a:avLst/>
          </a:prstGeom>
        </p:spPr>
      </p:pic>
    </p:spTree>
    <p:extLst>
      <p:ext uri="{BB962C8B-B14F-4D97-AF65-F5344CB8AC3E}">
        <p14:creationId xmlns:p14="http://schemas.microsoft.com/office/powerpoint/2010/main" val="915727863"/>
      </p:ext>
    </p:extLst>
  </p:cSld>
  <p:clrMap bg1="dk1" tx1="lt1" bg2="dk2" tx2="lt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100000"/>
        </a:lnSpc>
        <a:spcBef>
          <a:spcPts val="0"/>
        </a:spcBef>
        <a:spcAft>
          <a:spcPts val="0"/>
        </a:spcAft>
        <a:buNone/>
        <a:defRPr sz="28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200"/>
        </a:spcBef>
        <a:spcAft>
          <a:spcPts val="0"/>
        </a:spcAft>
        <a:buSzPct val="100000"/>
        <a:buFont typeface="Arial" panose="020B0604020202020204" pitchFamily="34" charset="0"/>
        <a:buChar char="•"/>
        <a:defRPr sz="2000" kern="1200">
          <a:solidFill>
            <a:schemeClr val="tx1"/>
          </a:solidFill>
          <a:latin typeface="+mn-lt"/>
          <a:ea typeface="+mn-ea"/>
          <a:cs typeface="+mn-cs"/>
        </a:defRPr>
      </a:lvl1pPr>
      <a:lvl2pPr marL="630936" indent="-292608" algn="l" defTabSz="914400" rtl="0" eaLnBrk="1" latinLnBrk="0" hangingPunct="1">
        <a:lnSpc>
          <a:spcPct val="100000"/>
        </a:lnSpc>
        <a:spcBef>
          <a:spcPts val="1200"/>
        </a:spcBef>
        <a:spcAft>
          <a:spcPts val="0"/>
        </a:spcAft>
        <a:buSzPct val="100000"/>
        <a:buFont typeface="Arial" panose="020B0604020202020204" pitchFamily="34" charset="0"/>
        <a:buChar char="–"/>
        <a:defRPr sz="2000" kern="1200">
          <a:solidFill>
            <a:schemeClr val="tx1"/>
          </a:solidFill>
          <a:latin typeface="+mn-lt"/>
          <a:ea typeface="+mn-ea"/>
          <a:cs typeface="+mn-cs"/>
        </a:defRPr>
      </a:lvl2pPr>
      <a:lvl3pPr marL="978408" indent="-228600" algn="l" defTabSz="914400" rtl="0" eaLnBrk="1" latinLnBrk="0" hangingPunct="1">
        <a:lnSpc>
          <a:spcPct val="100000"/>
        </a:lnSpc>
        <a:spcBef>
          <a:spcPts val="1200"/>
        </a:spcBef>
        <a:spcAft>
          <a:spcPts val="0"/>
        </a:spcAft>
        <a:buSzPct val="100000"/>
        <a:buFont typeface="Arial" panose="020B0604020202020204" pitchFamily="34" charset="0"/>
        <a:buChar char="•"/>
        <a:defRPr sz="2000" kern="1200">
          <a:solidFill>
            <a:schemeClr val="tx1"/>
          </a:solidFill>
          <a:latin typeface="+mn-lt"/>
          <a:ea typeface="+mn-ea"/>
          <a:cs typeface="+mn-cs"/>
        </a:defRPr>
      </a:lvl3pPr>
      <a:lvl4pPr marL="1380744" indent="-292608" algn="l" defTabSz="914400" rtl="0" eaLnBrk="1" latinLnBrk="0" hangingPunct="1">
        <a:lnSpc>
          <a:spcPct val="100000"/>
        </a:lnSpc>
        <a:spcBef>
          <a:spcPts val="1200"/>
        </a:spcBef>
        <a:spcAft>
          <a:spcPts val="0"/>
        </a:spcAft>
        <a:buSzPct val="100000"/>
        <a:buFont typeface="Arial" panose="020B0604020202020204" pitchFamily="34" charset="0"/>
        <a:buChar char="–"/>
        <a:tabLst/>
        <a:defRPr sz="2000" kern="1200">
          <a:solidFill>
            <a:schemeClr val="tx1"/>
          </a:solidFill>
          <a:latin typeface="+mn-lt"/>
          <a:ea typeface="+mn-ea"/>
          <a:cs typeface="+mn-cs"/>
        </a:defRPr>
      </a:lvl4pPr>
      <a:lvl5pPr marL="1719072" indent="-228600" algn="l" defTabSz="914400" rtl="0" eaLnBrk="1" latinLnBrk="0" hangingPunct="1">
        <a:lnSpc>
          <a:spcPct val="100000"/>
        </a:lnSpc>
        <a:spcBef>
          <a:spcPts val="1200"/>
        </a:spcBef>
        <a:spcAft>
          <a:spcPts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p15:clr>
            <a:srgbClr val="9FCC3B"/>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0F1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a:solidFill>
                  <a:schemeClr val="tx1"/>
                </a:solidFill>
              </a:rPr>
              <a:t>	RESTRICTED © 2026 Gartner, Inc. and/or its affiliates. All rights reserved.</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18">
            <a:extLst>
              <a:ext uri="{28A0092B-C50C-407E-A947-70E740481C1C}">
                <a14:useLocalDpi xmlns:a14="http://schemas.microsoft.com/office/drawing/2010/main" val="0"/>
              </a:ext>
            </a:extLst>
          </a:blip>
          <a:srcRect t="226" b="226"/>
          <a:stretch/>
        </p:blipFill>
        <p:spPr>
          <a:xfrm>
            <a:off x="10454640" y="6239533"/>
            <a:ext cx="1350666" cy="307571"/>
          </a:xfrm>
          <a:prstGeom prst="rect">
            <a:avLst/>
          </a:prstGeom>
        </p:spPr>
      </p:pic>
    </p:spTree>
    <p:extLst>
      <p:ext uri="{BB962C8B-B14F-4D97-AF65-F5344CB8AC3E}">
        <p14:creationId xmlns:p14="http://schemas.microsoft.com/office/powerpoint/2010/main" val="546102565"/>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 id="2147484037" r:id="rId12"/>
    <p:sldLayoutId id="2147484038" r:id="rId13"/>
    <p:sldLayoutId id="2147484039" r:id="rId14"/>
    <p:sldLayoutId id="2147484040" r:id="rId15"/>
    <p:sldLayoutId id="2147484041" r:id="rId16"/>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100000"/>
        </a:lnSpc>
        <a:spcBef>
          <a:spcPts val="0"/>
        </a:spcBef>
        <a:spcAft>
          <a:spcPts val="0"/>
        </a:spcAft>
        <a:buNone/>
        <a:defRPr sz="28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200"/>
        </a:spcBef>
        <a:spcAft>
          <a:spcPts val="0"/>
        </a:spcAft>
        <a:buSzPct val="100000"/>
        <a:buFont typeface="Arial" panose="020B0604020202020204" pitchFamily="34" charset="0"/>
        <a:buChar char="•"/>
        <a:defRPr sz="2000" kern="1200">
          <a:solidFill>
            <a:schemeClr val="tx1"/>
          </a:solidFill>
          <a:latin typeface="+mn-lt"/>
          <a:ea typeface="+mn-ea"/>
          <a:cs typeface="+mn-cs"/>
        </a:defRPr>
      </a:lvl1pPr>
      <a:lvl2pPr marL="630936" indent="-292608" algn="l" defTabSz="914400" rtl="0" eaLnBrk="1" latinLnBrk="0" hangingPunct="1">
        <a:lnSpc>
          <a:spcPct val="100000"/>
        </a:lnSpc>
        <a:spcBef>
          <a:spcPts val="1200"/>
        </a:spcBef>
        <a:spcAft>
          <a:spcPts val="0"/>
        </a:spcAft>
        <a:buSzPct val="100000"/>
        <a:buFont typeface="Arial" panose="020B0604020202020204" pitchFamily="34" charset="0"/>
        <a:buChar char="–"/>
        <a:defRPr sz="2000" kern="1200">
          <a:solidFill>
            <a:schemeClr val="tx1"/>
          </a:solidFill>
          <a:latin typeface="+mn-lt"/>
          <a:ea typeface="+mn-ea"/>
          <a:cs typeface="+mn-cs"/>
        </a:defRPr>
      </a:lvl2pPr>
      <a:lvl3pPr marL="978408" indent="-228600" algn="l" defTabSz="914400" rtl="0" eaLnBrk="1" latinLnBrk="0" hangingPunct="1">
        <a:lnSpc>
          <a:spcPct val="100000"/>
        </a:lnSpc>
        <a:spcBef>
          <a:spcPts val="1200"/>
        </a:spcBef>
        <a:spcAft>
          <a:spcPts val="0"/>
        </a:spcAft>
        <a:buSzPct val="100000"/>
        <a:buFont typeface="Arial" panose="020B0604020202020204" pitchFamily="34" charset="0"/>
        <a:buChar char="•"/>
        <a:defRPr sz="2000" kern="1200">
          <a:solidFill>
            <a:schemeClr val="tx1"/>
          </a:solidFill>
          <a:latin typeface="+mn-lt"/>
          <a:ea typeface="+mn-ea"/>
          <a:cs typeface="+mn-cs"/>
        </a:defRPr>
      </a:lvl3pPr>
      <a:lvl4pPr marL="1380744" indent="-292608" algn="l" defTabSz="914400" rtl="0" eaLnBrk="1" latinLnBrk="0" hangingPunct="1">
        <a:lnSpc>
          <a:spcPct val="100000"/>
        </a:lnSpc>
        <a:spcBef>
          <a:spcPts val="1200"/>
        </a:spcBef>
        <a:spcAft>
          <a:spcPts val="0"/>
        </a:spcAft>
        <a:buSzPct val="100000"/>
        <a:buFont typeface="Arial" panose="020B0604020202020204" pitchFamily="34" charset="0"/>
        <a:buChar char="–"/>
        <a:tabLst/>
        <a:defRPr sz="2000" kern="1200">
          <a:solidFill>
            <a:schemeClr val="tx1"/>
          </a:solidFill>
          <a:latin typeface="+mn-lt"/>
          <a:ea typeface="+mn-ea"/>
          <a:cs typeface="+mn-cs"/>
        </a:defRPr>
      </a:lvl4pPr>
      <a:lvl5pPr marL="1719072" indent="-228600" algn="l" defTabSz="914400" rtl="0" eaLnBrk="1" latinLnBrk="0" hangingPunct="1">
        <a:lnSpc>
          <a:spcPct val="100000"/>
        </a:lnSpc>
        <a:spcBef>
          <a:spcPts val="1200"/>
        </a:spcBef>
        <a:spcAft>
          <a:spcPts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p15:clr>
            <a:srgbClr val="9FCC3B"/>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5.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3.xml"/><Relationship Id="rId1" Type="http://schemas.openxmlformats.org/officeDocument/2006/relationships/tags" Target="../tags/tag2.xml"/><Relationship Id="rId5" Type="http://schemas.openxmlformats.org/officeDocument/2006/relationships/image" Target="../media/image5.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3.xml"/><Relationship Id="rId1" Type="http://schemas.openxmlformats.org/officeDocument/2006/relationships/tags" Target="../tags/tag3.xml"/><Relationship Id="rId5" Type="http://schemas.openxmlformats.org/officeDocument/2006/relationships/image" Target="../media/image6.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3.xml"/><Relationship Id="rId1" Type="http://schemas.openxmlformats.org/officeDocument/2006/relationships/tags" Target="../tags/tag4.xml"/><Relationship Id="rId6" Type="http://schemas.openxmlformats.org/officeDocument/2006/relationships/slide" Target="slide4.xml"/><Relationship Id="rId5" Type="http://schemas.openxmlformats.org/officeDocument/2006/relationships/image" Target="../media/image7.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slide" Target="slide5.xml"/><Relationship Id="rId2" Type="http://schemas.openxmlformats.org/officeDocument/2006/relationships/slideLayout" Target="../slideLayouts/slideLayout53.xml"/><Relationship Id="rId1" Type="http://schemas.openxmlformats.org/officeDocument/2006/relationships/tags" Target="../tags/tag5.xml"/><Relationship Id="rId6" Type="http://schemas.openxmlformats.org/officeDocument/2006/relationships/slide" Target="slide3.xml"/><Relationship Id="rId5" Type="http://schemas.openxmlformats.org/officeDocument/2006/relationships/image" Target="../media/image8.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hyperlink" Target="https://www.gartner.com/en/human-resources/research/hr-score?utm_campaign=RM_GB_2026_HRL_NPP_IA1_SCPPGOALTMPL" TargetMode="External"/><Relationship Id="rId7" Type="http://schemas.openxmlformats.org/officeDocument/2006/relationships/image" Target="../media/image9.svg"/><Relationship Id="rId2" Type="http://schemas.openxmlformats.org/officeDocument/2006/relationships/hyperlink" Target="http://gartner.com/account/signin" TargetMode="External"/><Relationship Id="rId1" Type="http://schemas.openxmlformats.org/officeDocument/2006/relationships/slideLayout" Target="../slideLayouts/slideLayout53.xml"/><Relationship Id="rId6" Type="http://schemas.openxmlformats.org/officeDocument/2006/relationships/hyperlink" Target="https://www.gartner.com/en/human-resources/trends/top-priorities-for-hr-leaders?utm_campaign=RM_GB_2026_HRL_NPP_IA1_SCPPGOALTMPL" TargetMode="External"/><Relationship Id="rId5" Type="http://schemas.openxmlformats.org/officeDocument/2006/relationships/hyperlink" Target="https://www.gartner.com/en/conferences/calendar?utm_campaign=RM_GB_2026_HRL_NPP_IA1_SCPPGOALTMPL" TargetMode="External"/><Relationship Id="rId4" Type="http://schemas.openxmlformats.org/officeDocument/2006/relationships/hyperlink" Target="https://www.gartner.com/en/human-resources/customer-success-stories/building-culture-amid-rapid-expansion?utm_campaign=RM_GB_2026_HRL_NPP_IA1_SCPPGOALTMPL" TargetMode="External"/><Relationship Id="rId9" Type="http://schemas.openxmlformats.org/officeDocument/2006/relationships/image" Target="../media/image11.svg"/></Relationships>
</file>

<file path=ppt/slides/_rels/slide8.xml.rels><?xml version="1.0" encoding="UTF-8" standalone="yes"?>
<Relationships xmlns="http://schemas.openxmlformats.org/package/2006/relationships"><Relationship Id="rId8" Type="http://schemas.openxmlformats.org/officeDocument/2006/relationships/hyperlink" Target="https://www.gartner.com/en/human-resources/become-a-client-hr1?utm_campaign=RM_GB_2026_HRL_NPP_IA1_SCPPGOALTMPL" TargetMode="External"/><Relationship Id="rId3" Type="http://schemas.openxmlformats.org/officeDocument/2006/relationships/hyperlink" Target="https://www.linkedin.com/showcase/gartner-for-hr/posts/?feedView=all&amp;utm_campaign=RM_GB_2026_HRL_NPP_IA1_SCPPGOALTMPL" TargetMode="External"/><Relationship Id="rId7" Type="http://schemas.openxmlformats.org/officeDocument/2006/relationships/hyperlink" Target="http://www.gartner.com/en/conferences/calendar?utm_campaign=RM_GB_2026_HRL_NPP_IA1_SCPPGOALTMPL" TargetMode="External"/><Relationship Id="rId2" Type="http://schemas.openxmlformats.org/officeDocument/2006/relationships/hyperlink" Target="https://www.gartner.com/en/human-resources/products/gartner-for-chro?utm_medium=asset&amp;utm_campaign=RM_GB_2026_HRL_NPP_IA1_SCPPGOALTMPL" TargetMode="External"/><Relationship Id="rId1" Type="http://schemas.openxmlformats.org/officeDocument/2006/relationships/slideLayout" Target="../slideLayouts/slideLayout19.xml"/><Relationship Id="rId6" Type="http://schemas.openxmlformats.org/officeDocument/2006/relationships/hyperlink" Target="https://www.youtube.com/user/Gartnervideo?utm_campaign=RM_GB_2026_HRL_NPP_IA1_SCPPGOALTMPL" TargetMode="External"/><Relationship Id="rId5" Type="http://schemas.openxmlformats.org/officeDocument/2006/relationships/image" Target="../media/image12.png"/><Relationship Id="rId4" Type="http://schemas.openxmlformats.org/officeDocument/2006/relationships/hyperlink" Target="https://x.com/Gartner_inc?utm_campaign=RM_GB_2026_HRL_NPP_IA1_SCPPGOALTMP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29F640-5A5A-DDBC-2D1E-455D101B951C}"/>
              </a:ext>
            </a:extLst>
          </p:cNvPr>
          <p:cNvSpPr>
            <a:spLocks noGrp="1"/>
          </p:cNvSpPr>
          <p:nvPr>
            <p:ph type="ctrTitle"/>
          </p:nvPr>
        </p:nvSpPr>
        <p:spPr>
          <a:xfrm>
            <a:off x="1371600" y="2149713"/>
            <a:ext cx="7089354" cy="2185214"/>
          </a:xfrm>
        </p:spPr>
        <p:txBody>
          <a:bodyPr/>
          <a:lstStyle/>
          <a:p>
            <a:r>
              <a:rPr lang="en-US" dirty="0">
                <a:solidFill>
                  <a:schemeClr val="lt1"/>
                </a:solidFill>
                <a:cs typeface="Arial" panose="020B0604020202020204" pitchFamily="34" charset="0"/>
              </a:rPr>
              <a:t>Identify Goals and KPIs for Culture Measurement</a:t>
            </a:r>
            <a:endParaRPr lang="en-US" dirty="0">
              <a:cs typeface="Arial" panose="020B0604020202020204" pitchFamily="34" charset="0"/>
            </a:endParaRPr>
          </a:p>
        </p:txBody>
      </p:sp>
      <p:sp>
        <p:nvSpPr>
          <p:cNvPr id="3" name="Subtitle 2">
            <a:extLst>
              <a:ext uri="{FF2B5EF4-FFF2-40B4-BE49-F238E27FC236}">
                <a16:creationId xmlns:a16="http://schemas.microsoft.com/office/drawing/2014/main" id="{35524425-EA43-16C2-8F74-7BEA8D1E2C07}"/>
              </a:ext>
            </a:extLst>
          </p:cNvPr>
          <p:cNvSpPr>
            <a:spLocks noGrp="1"/>
          </p:cNvSpPr>
          <p:nvPr>
            <p:ph type="subTitle" idx="1"/>
          </p:nvPr>
        </p:nvSpPr>
        <p:spPr/>
        <p:txBody>
          <a:bodyPr/>
          <a:lstStyle/>
          <a:p>
            <a:r>
              <a:rPr lang="en-US" dirty="0">
                <a:solidFill>
                  <a:schemeClr val="lt1"/>
                </a:solidFill>
                <a:cs typeface="Arial" panose="020B0604020202020204" pitchFamily="34" charset="0"/>
              </a:rPr>
              <a:t>CHRO template</a:t>
            </a:r>
            <a:endParaRPr lang="en-US" dirty="0">
              <a:cs typeface="Arial" panose="020B0604020202020204" pitchFamily="34" charset="0"/>
            </a:endParaRPr>
          </a:p>
        </p:txBody>
      </p:sp>
    </p:spTree>
    <p:extLst>
      <p:ext uri="{BB962C8B-B14F-4D97-AF65-F5344CB8AC3E}">
        <p14:creationId xmlns:p14="http://schemas.microsoft.com/office/powerpoint/2010/main" val="7656631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64"/>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E04CE4E-F50F-9102-7E0A-8FB0F01A0E3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DE04CE4E-F50F-9102-7E0A-8FB0F01A0E3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Google Shape;165;g2bf4bf76fd8_0_162">
            <a:extLst>
              <a:ext uri="{FF2B5EF4-FFF2-40B4-BE49-F238E27FC236}">
                <a16:creationId xmlns:a16="http://schemas.microsoft.com/office/drawing/2014/main" id="{A0BFDB6E-9499-5DE4-9349-96A467CF55C9}"/>
              </a:ext>
            </a:extLst>
          </p:cNvPr>
          <p:cNvSpPr txBox="1">
            <a:spLocks/>
          </p:cNvSpPr>
          <p:nvPr/>
        </p:nvSpPr>
        <p:spPr>
          <a:xfrm>
            <a:off x="461875" y="376337"/>
            <a:ext cx="11276100" cy="4431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2"/>
              </a:buClr>
              <a:buSzPts val="1800"/>
              <a:buFont typeface="Arial Black"/>
              <a:buNone/>
              <a:defRPr sz="3200" b="0" i="0" u="none" strike="noStrike" cap="none">
                <a:solidFill>
                  <a:schemeClr val="dk2"/>
                </a:solidFill>
                <a:latin typeface="Arial Black"/>
                <a:ea typeface="Arial Black"/>
                <a:cs typeface="Arial Black"/>
                <a:sym typeface="Arial Black"/>
              </a:defRPr>
            </a:lvl1pPr>
            <a:lvl2pPr marR="0" lvl="1" algn="l" rtl="0">
              <a:lnSpc>
                <a:spcPct val="100000"/>
              </a:lnSpc>
              <a:spcBef>
                <a:spcPts val="120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GB" b="1" dirty="0">
                <a:latin typeface="+mj-lt"/>
              </a:rPr>
              <a:t>Overview</a:t>
            </a:r>
          </a:p>
          <a:p>
            <a:endParaRPr lang="en-US" sz="2300" b="1" dirty="0">
              <a:latin typeface="+mj-lt"/>
            </a:endParaRPr>
          </a:p>
        </p:txBody>
      </p:sp>
      <p:sp>
        <p:nvSpPr>
          <p:cNvPr id="6" name="Google Shape;166;g2bf4bf76fd8_0_162">
            <a:extLst>
              <a:ext uri="{FF2B5EF4-FFF2-40B4-BE49-F238E27FC236}">
                <a16:creationId xmlns:a16="http://schemas.microsoft.com/office/drawing/2014/main" id="{D7830C3F-1D46-7D65-40AF-1A8597B7D564}"/>
              </a:ext>
            </a:extLst>
          </p:cNvPr>
          <p:cNvSpPr txBox="1">
            <a:spLocks/>
          </p:cNvSpPr>
          <p:nvPr/>
        </p:nvSpPr>
        <p:spPr>
          <a:xfrm>
            <a:off x="461875" y="1346200"/>
            <a:ext cx="5438353" cy="44610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Noto Sans Symbols"/>
              <a:buChar char="▪"/>
              <a:defRPr sz="2000" b="0" i="0" u="none" strike="noStrike" cap="none">
                <a:solidFill>
                  <a:schemeClr val="dk1"/>
                </a:solidFill>
                <a:latin typeface="Arial"/>
                <a:ea typeface="Arial"/>
                <a:cs typeface="Arial"/>
                <a:sym typeface="Arial"/>
              </a:defRPr>
            </a:lvl1pPr>
            <a:lvl2pPr marL="914400" marR="0" lvl="1" indent="-342900" algn="l" rtl="0">
              <a:lnSpc>
                <a:spcPct val="100000"/>
              </a:lnSpc>
              <a:spcBef>
                <a:spcPts val="1200"/>
              </a:spcBef>
              <a:spcAft>
                <a:spcPts val="0"/>
              </a:spcAft>
              <a:buClr>
                <a:schemeClr val="dk1"/>
              </a:buClr>
              <a:buSzPts val="1800"/>
              <a:buFont typeface="Arial"/>
              <a:buChar char="–"/>
              <a:defRPr sz="2000" b="0" i="0" u="none" strike="noStrike" cap="none">
                <a:solidFill>
                  <a:schemeClr val="dk1"/>
                </a:solidFill>
                <a:latin typeface="Arial"/>
                <a:ea typeface="Arial"/>
                <a:cs typeface="Arial"/>
                <a:sym typeface="Arial"/>
              </a:defRPr>
            </a:lvl2pPr>
            <a:lvl3pPr marL="1371600" marR="0" lvl="2" indent="-342900" algn="l" rtl="0">
              <a:lnSpc>
                <a:spcPct val="100000"/>
              </a:lnSpc>
              <a:spcBef>
                <a:spcPts val="1200"/>
              </a:spcBef>
              <a:spcAft>
                <a:spcPts val="0"/>
              </a:spcAft>
              <a:buClr>
                <a:schemeClr val="dk1"/>
              </a:buClr>
              <a:buSzPts val="1800"/>
              <a:buFont typeface="Noto Sans Symbols"/>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1200"/>
              </a:spcBef>
              <a:spcAft>
                <a:spcPts val="0"/>
              </a:spcAft>
              <a:buClr>
                <a:schemeClr val="dk1"/>
              </a:buClr>
              <a:buSzPts val="1800"/>
              <a:buFont typeface="Arial"/>
              <a:buChar char="–"/>
              <a:defRPr sz="2000" b="0" i="0" u="none" strike="noStrike" cap="none">
                <a:solidFill>
                  <a:schemeClr val="dk1"/>
                </a:solidFill>
                <a:latin typeface="Arial"/>
                <a:ea typeface="Arial"/>
                <a:cs typeface="Arial"/>
                <a:sym typeface="Arial"/>
              </a:defRPr>
            </a:lvl4pPr>
            <a:lvl5pPr marL="2286000" marR="0" lvl="4" indent="-342900" algn="l" rtl="0">
              <a:lnSpc>
                <a:spcPct val="100000"/>
              </a:lnSpc>
              <a:spcBef>
                <a:spcPts val="1200"/>
              </a:spcBef>
              <a:spcAft>
                <a:spcPts val="0"/>
              </a:spcAft>
              <a:buClr>
                <a:schemeClr val="dk1"/>
              </a:buClr>
              <a:buSzPts val="1800"/>
              <a:buFont typeface="Noto Sans Symbols"/>
              <a:buChar char="▪"/>
              <a:defRPr sz="2000" b="0" i="0" u="none" strike="noStrike" cap="none">
                <a:solidFill>
                  <a:schemeClr val="dk1"/>
                </a:solidFill>
                <a:latin typeface="Arial"/>
                <a:ea typeface="Arial"/>
                <a:cs typeface="Arial"/>
                <a:sym typeface="Arial"/>
              </a:defRPr>
            </a:lvl5pPr>
            <a:lvl6pPr marL="2743200" marR="0" lvl="5" indent="-342900" algn="l" rtl="0">
              <a:lnSpc>
                <a:spcPct val="90000"/>
              </a:lnSpc>
              <a:spcBef>
                <a:spcPts val="12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indent="0">
              <a:buNone/>
            </a:pPr>
            <a:r>
              <a:rPr lang="en-GB" sz="1800" dirty="0">
                <a:latin typeface="+mn-lt"/>
              </a:rPr>
              <a:t>Company culture serves to bring employees together with common norms and behaviors and connect employees across teams and geographies. </a:t>
            </a:r>
          </a:p>
          <a:p>
            <a:pPr marL="0" indent="0">
              <a:buNone/>
            </a:pPr>
            <a:endParaRPr lang="en-GB" sz="1800" dirty="0">
              <a:latin typeface="+mn-lt"/>
            </a:endParaRPr>
          </a:p>
          <a:p>
            <a:pPr marL="0" indent="0">
              <a:buNone/>
            </a:pPr>
            <a:r>
              <a:rPr lang="en-GB" sz="1800" dirty="0">
                <a:latin typeface="+mn-lt"/>
              </a:rPr>
              <a:t>Organizations with strong culture alignment benefit from enhanced employee performance, improved performance against revenue goals and more positive reputation outcomes. Despite investments </a:t>
            </a:r>
            <a:br>
              <a:rPr lang="en-GB" sz="1800" dirty="0">
                <a:latin typeface="+mn-lt"/>
              </a:rPr>
            </a:br>
            <a:r>
              <a:rPr lang="en-GB" sz="1800" dirty="0">
                <a:latin typeface="+mn-lt"/>
              </a:rPr>
              <a:t>in culture, many organizations fail to accurately measure progress against desired culture goals beyond employee satisfaction. </a:t>
            </a:r>
          </a:p>
          <a:p>
            <a:pPr marL="0" indent="0">
              <a:buNone/>
            </a:pPr>
            <a:endParaRPr lang="en-GB" dirty="0">
              <a:latin typeface="+mn-lt"/>
            </a:endParaRPr>
          </a:p>
        </p:txBody>
      </p:sp>
      <p:sp>
        <p:nvSpPr>
          <p:cNvPr id="11" name="Google Shape;160;g2bf4bf76fd8_0_85">
            <a:extLst>
              <a:ext uri="{FF2B5EF4-FFF2-40B4-BE49-F238E27FC236}">
                <a16:creationId xmlns:a16="http://schemas.microsoft.com/office/drawing/2014/main" id="{79E8267D-00FA-45DC-9C61-0DC7C169006D}"/>
              </a:ext>
            </a:extLst>
          </p:cNvPr>
          <p:cNvSpPr txBox="1"/>
          <p:nvPr/>
        </p:nvSpPr>
        <p:spPr>
          <a:xfrm>
            <a:off x="6234113" y="1346200"/>
            <a:ext cx="5496012" cy="3510785"/>
          </a:xfrm>
          <a:prstGeom prst="rect">
            <a:avLst/>
          </a:prstGeom>
          <a:noFill/>
          <a:ln>
            <a:noFill/>
          </a:ln>
        </p:spPr>
        <p:txBody>
          <a:bodyPr spcFirstLastPara="1" wrap="square" lIns="91425" tIns="45700" rIns="91425" bIns="45700" anchor="t" anchorCtr="0">
            <a:noAutofit/>
          </a:bodyPr>
          <a:lstStyle/>
          <a:p>
            <a:pPr>
              <a:buSzPts val="1400"/>
            </a:pPr>
            <a:r>
              <a:rPr lang="en-GB" dirty="0"/>
              <a:t>CHROs can use this four-step template to:</a:t>
            </a:r>
          </a:p>
          <a:p>
            <a:pPr marL="0" marR="0" lvl="0" indent="0" algn="l" rtl="0">
              <a:lnSpc>
                <a:spcPct val="100000"/>
              </a:lnSpc>
              <a:spcBef>
                <a:spcPts val="0"/>
              </a:spcBef>
              <a:spcAft>
                <a:spcPts val="0"/>
              </a:spcAft>
              <a:buClr>
                <a:srgbClr val="000000"/>
              </a:buClr>
              <a:buSzPts val="1200"/>
              <a:buFont typeface="Arial"/>
              <a:buNone/>
            </a:pPr>
            <a:endParaRPr i="0" u="none" strike="noStrike" cap="none" dirty="0">
              <a:solidFill>
                <a:schemeClr val="tx1"/>
              </a:solidFill>
              <a:ea typeface="Arial"/>
              <a:cs typeface="Arial"/>
            </a:endParaRPr>
          </a:p>
          <a:p>
            <a:pPr marL="342900" indent="-342900">
              <a:buSzPct val="100000"/>
              <a:buFont typeface="+mj-lt"/>
              <a:buAutoNum type="arabicPeriod"/>
            </a:pPr>
            <a:r>
              <a:rPr lang="en-US" b="1" dirty="0">
                <a:solidFill>
                  <a:schemeClr val="tx1"/>
                </a:solidFill>
              </a:rPr>
              <a:t>Review</a:t>
            </a:r>
            <a:r>
              <a:rPr lang="en-US" dirty="0">
                <a:solidFill>
                  <a:schemeClr val="tx1"/>
                </a:solidFill>
              </a:rPr>
              <a:t> and select high-level culture</a:t>
            </a:r>
            <a:r>
              <a:rPr lang="en-US" i="0" u="none" strike="noStrike" cap="none" dirty="0">
                <a:solidFill>
                  <a:schemeClr val="tx1"/>
                </a:solidFill>
                <a:ea typeface="Arial"/>
                <a:cs typeface="Arial"/>
                <a:sym typeface="Arial"/>
              </a:rPr>
              <a:t> KPIs</a:t>
            </a:r>
            <a:endParaRPr i="0" u="none" strike="noStrike" cap="none" dirty="0">
              <a:solidFill>
                <a:schemeClr val="tx1"/>
              </a:solidFill>
              <a:ea typeface="Arial"/>
              <a:cs typeface="Arial"/>
            </a:endParaRPr>
          </a:p>
          <a:p>
            <a:pPr marL="342900" marR="0" lvl="0" indent="-342900" algn="l" rtl="0">
              <a:lnSpc>
                <a:spcPct val="100000"/>
              </a:lnSpc>
              <a:spcBef>
                <a:spcPts val="0"/>
              </a:spcBef>
              <a:spcAft>
                <a:spcPts val="0"/>
              </a:spcAft>
              <a:buClr>
                <a:srgbClr val="000000"/>
              </a:buClr>
              <a:buSzPct val="100000"/>
              <a:buFont typeface="+mj-lt"/>
              <a:buAutoNum type="arabicPeriod"/>
            </a:pPr>
            <a:endParaRPr b="0" i="0" u="none" strike="noStrike" cap="none" dirty="0">
              <a:solidFill>
                <a:schemeClr val="tx1"/>
              </a:solidFill>
              <a:ea typeface="Arial"/>
              <a:cs typeface="Arial"/>
              <a:sym typeface="Arial"/>
            </a:endParaRPr>
          </a:p>
          <a:p>
            <a:pPr marL="342900" indent="-342900">
              <a:buSzPct val="100000"/>
              <a:buFont typeface="+mj-lt"/>
              <a:buAutoNum type="arabicPeriod"/>
            </a:pPr>
            <a:r>
              <a:rPr lang="en-US" b="1" u="none" strike="noStrike" cap="none" dirty="0">
                <a:solidFill>
                  <a:schemeClr val="tx1"/>
                </a:solidFill>
                <a:latin typeface="Gartner Sans Semibold" panose="020B0504030402040204" pitchFamily="34" charset="77"/>
                <a:ea typeface="Arial"/>
                <a:cs typeface="Arial"/>
                <a:sym typeface="Arial"/>
              </a:rPr>
              <a:t>Create</a:t>
            </a:r>
            <a:r>
              <a:rPr lang="en-US" i="0" u="none" strike="noStrike" cap="none" dirty="0">
                <a:solidFill>
                  <a:schemeClr val="tx1"/>
                </a:solidFill>
                <a:ea typeface="Arial"/>
                <a:cs typeface="Arial"/>
                <a:sym typeface="Arial"/>
              </a:rPr>
              <a:t> </a:t>
            </a:r>
            <a:r>
              <a:rPr lang="en-US" dirty="0">
                <a:solidFill>
                  <a:schemeClr val="tx1"/>
                </a:solidFill>
              </a:rPr>
              <a:t>culture change statements</a:t>
            </a:r>
            <a:endParaRPr i="0" u="none" strike="noStrike" cap="none" dirty="0">
              <a:solidFill>
                <a:schemeClr val="tx1"/>
              </a:solidFill>
              <a:ea typeface="Arial"/>
              <a:cs typeface="Arial"/>
            </a:endParaRPr>
          </a:p>
          <a:p>
            <a:pPr marL="342900" marR="0" lvl="0" indent="-342900" algn="l" rtl="0">
              <a:lnSpc>
                <a:spcPct val="100000"/>
              </a:lnSpc>
              <a:spcBef>
                <a:spcPts val="0"/>
              </a:spcBef>
              <a:spcAft>
                <a:spcPts val="0"/>
              </a:spcAft>
              <a:buClr>
                <a:srgbClr val="000000"/>
              </a:buClr>
              <a:buSzPct val="100000"/>
              <a:buFont typeface="+mj-lt"/>
              <a:buAutoNum type="arabicPeriod"/>
            </a:pPr>
            <a:endParaRPr i="0" u="none" strike="noStrike" cap="none" dirty="0">
              <a:solidFill>
                <a:schemeClr val="tx1"/>
              </a:solidFill>
              <a:ea typeface="Arial"/>
              <a:cs typeface="Arial"/>
            </a:endParaRPr>
          </a:p>
          <a:p>
            <a:pPr marL="342900" indent="-342900">
              <a:buSzPct val="100000"/>
              <a:buFont typeface="+mj-lt"/>
              <a:buAutoNum type="arabicPeriod"/>
            </a:pPr>
            <a:r>
              <a:rPr lang="en-US" b="1" u="none" strike="noStrike" cap="none" dirty="0">
                <a:solidFill>
                  <a:schemeClr val="tx1"/>
                </a:solidFill>
                <a:latin typeface="Gartner Sans Semibold" panose="020B0504030402040204" pitchFamily="34" charset="77"/>
                <a:ea typeface="Arial"/>
                <a:cs typeface="Arial"/>
                <a:sym typeface="Arial"/>
              </a:rPr>
              <a:t>Identify</a:t>
            </a:r>
            <a:r>
              <a:rPr lang="en-US" i="0" u="none" strike="noStrike" cap="none" dirty="0">
                <a:solidFill>
                  <a:schemeClr val="tx1"/>
                </a:solidFill>
                <a:ea typeface="Arial"/>
                <a:cs typeface="Arial"/>
                <a:sym typeface="Arial"/>
              </a:rPr>
              <a:t> </a:t>
            </a:r>
            <a:r>
              <a:rPr lang="en-US" dirty="0">
                <a:solidFill>
                  <a:schemeClr val="tx1"/>
                </a:solidFill>
              </a:rPr>
              <a:t>success measures for each culture change statement</a:t>
            </a:r>
          </a:p>
          <a:p>
            <a:pPr marL="342900" indent="-342900">
              <a:buSzPct val="100000"/>
              <a:buFont typeface="+mj-lt"/>
              <a:buAutoNum type="arabicPeriod"/>
            </a:pPr>
            <a:endParaRPr lang="en-US" i="0" u="none" strike="noStrike" cap="none" dirty="0">
              <a:solidFill>
                <a:schemeClr val="tx1"/>
              </a:solidFill>
              <a:ea typeface="Arial"/>
              <a:cs typeface="Arial"/>
            </a:endParaRPr>
          </a:p>
          <a:p>
            <a:pPr marL="342900" indent="-342900">
              <a:buSzPct val="100000"/>
              <a:buFont typeface="+mj-lt"/>
              <a:buAutoNum type="arabicPeriod"/>
            </a:pPr>
            <a:r>
              <a:rPr lang="en-US" b="1" u="none" strike="noStrike" cap="none" dirty="0">
                <a:solidFill>
                  <a:schemeClr val="tx1"/>
                </a:solidFill>
                <a:latin typeface="Gartner Sans Semibold" panose="020B0504030402040204" pitchFamily="34" charset="77"/>
                <a:ea typeface="Arial"/>
                <a:cs typeface="Arial"/>
                <a:sym typeface="Arial"/>
              </a:rPr>
              <a:t>Capture</a:t>
            </a:r>
            <a:r>
              <a:rPr lang="en-US" i="0" u="none" strike="noStrike" cap="none" dirty="0">
                <a:solidFill>
                  <a:schemeClr val="tx1"/>
                </a:solidFill>
                <a:ea typeface="Arial"/>
                <a:cs typeface="Arial"/>
                <a:sym typeface="Arial"/>
              </a:rPr>
              <a:t> </a:t>
            </a:r>
            <a:r>
              <a:rPr lang="en-US" dirty="0">
                <a:solidFill>
                  <a:schemeClr val="tx1"/>
                </a:solidFill>
              </a:rPr>
              <a:t>culture measurement goals</a:t>
            </a:r>
            <a:endParaRPr i="0" u="none" strike="noStrike" cap="none" dirty="0">
              <a:solidFill>
                <a:schemeClr val="tx1"/>
              </a:solidFill>
              <a:ea typeface="Arial"/>
              <a:cs typeface="Aria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7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9C7C0C0-BFD1-A10D-027C-A7862136EAE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A9C7C0C0-BFD1-A10D-027C-A7862136EAE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71" name="Google Shape;171;g28ee88f8467_0_207"/>
          <p:cNvSpPr txBox="1">
            <a:spLocks noGrp="1"/>
          </p:cNvSpPr>
          <p:nvPr>
            <p:ph type="title"/>
          </p:nvPr>
        </p:nvSpPr>
        <p:spPr>
          <a:prstGeom prst="rect">
            <a:avLst/>
          </a:prstGeom>
          <a:noFill/>
          <a:ln>
            <a:noFill/>
          </a:ln>
        </p:spPr>
        <p:txBody>
          <a:bodyPr spcFirstLastPara="1" wrap="square" lIns="0" tIns="0" rIns="0" bIns="0" anchor="t" anchorCtr="0">
            <a:noAutofit/>
          </a:bodyPr>
          <a:lstStyle/>
          <a:p>
            <a:r>
              <a:rPr lang="en-US" sz="2400" dirty="0"/>
              <a:t>1. Review and select high-level culture</a:t>
            </a:r>
            <a:r>
              <a:rPr lang="en-US" sz="2400" dirty="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
                  </a:ext>
                </a:extLst>
              </a:rPr>
              <a:t> </a:t>
            </a:r>
            <a:r>
              <a:rPr lang="en-US" sz="2400" dirty="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
                  </a:ext>
                </a:extLst>
              </a:rPr>
              <a:t>KPIs</a:t>
            </a:r>
            <a:endParaRPr sz="2400" dirty="0"/>
          </a:p>
        </p:txBody>
      </p:sp>
      <p:sp>
        <p:nvSpPr>
          <p:cNvPr id="172" name="Google Shape;172;g28ee88f8467_0_207"/>
          <p:cNvSpPr/>
          <p:nvPr/>
        </p:nvSpPr>
        <p:spPr>
          <a:xfrm>
            <a:off x="457200" y="863324"/>
            <a:ext cx="11274600" cy="551400"/>
          </a:xfrm>
          <a:prstGeom prst="rect">
            <a:avLst/>
          </a:prstGeom>
          <a:solidFill>
            <a:srgbClr val="E0F1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dirty="0">
                <a:solidFill>
                  <a:srgbClr val="00002D"/>
                </a:solidFil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3"/>
                  </a:ext>
                </a:extLst>
              </a:rPr>
              <a:t>Instructions</a:t>
            </a:r>
            <a:r>
              <a:rPr lang="en-US" sz="1200" b="1" i="0" u="none" strike="noStrike" cap="none" dirty="0">
                <a:solidFill>
                  <a:srgbClr val="00002D"/>
                </a:solidFill>
                <a:ea typeface="Arial"/>
                <a:cs typeface="Arial"/>
                <a:sym typeface="Arial"/>
              </a:rPr>
              <a:t>:</a:t>
            </a:r>
            <a:r>
              <a:rPr lang="en-US" sz="1200" b="0" i="0" u="none" strike="noStrike" cap="none" dirty="0">
                <a:solidFill>
                  <a:srgbClr val="00002D"/>
                </a:solidFill>
                <a:ea typeface="Arial"/>
                <a:cs typeface="Arial"/>
                <a:sym typeface="Arial"/>
              </a:rPr>
              <a:t> Consider the common culture KPIs below to determine whether they align with your organization’s culture goals.</a:t>
            </a:r>
            <a:endParaRPr sz="1200" b="0" i="0" u="none" strike="noStrike" cap="none" dirty="0">
              <a:solidFill>
                <a:srgbClr val="00002D"/>
              </a:solidFill>
              <a:ea typeface="Arial"/>
              <a:cs typeface="Arial"/>
              <a:sym typeface="Arial"/>
            </a:endParaRPr>
          </a:p>
        </p:txBody>
      </p:sp>
      <p:graphicFrame>
        <p:nvGraphicFramePr>
          <p:cNvPr id="173" name="Google Shape;173;g28ee88f8467_0_207"/>
          <p:cNvGraphicFramePr/>
          <p:nvPr>
            <p:extLst>
              <p:ext uri="{D42A27DB-BD31-4B8C-83A1-F6EECF244321}">
                <p14:modId xmlns:p14="http://schemas.microsoft.com/office/powerpoint/2010/main" val="2908335468"/>
              </p:ext>
            </p:extLst>
          </p:nvPr>
        </p:nvGraphicFramePr>
        <p:xfrm>
          <a:off x="491512" y="1468570"/>
          <a:ext cx="11208975" cy="3769268"/>
        </p:xfrm>
        <a:graphic>
          <a:graphicData uri="http://schemas.openxmlformats.org/drawingml/2006/table">
            <a:tbl>
              <a:tblPr firstRow="1" bandRow="1">
                <a:noFill/>
              </a:tblPr>
              <a:tblGrid>
                <a:gridCol w="3736325">
                  <a:extLst>
                    <a:ext uri="{9D8B030D-6E8A-4147-A177-3AD203B41FA5}">
                      <a16:colId xmlns:a16="http://schemas.microsoft.com/office/drawing/2014/main" val="20000"/>
                    </a:ext>
                  </a:extLst>
                </a:gridCol>
                <a:gridCol w="3736325">
                  <a:extLst>
                    <a:ext uri="{9D8B030D-6E8A-4147-A177-3AD203B41FA5}">
                      <a16:colId xmlns:a16="http://schemas.microsoft.com/office/drawing/2014/main" val="20001"/>
                    </a:ext>
                  </a:extLst>
                </a:gridCol>
                <a:gridCol w="3736325">
                  <a:extLst>
                    <a:ext uri="{9D8B030D-6E8A-4147-A177-3AD203B41FA5}">
                      <a16:colId xmlns:a16="http://schemas.microsoft.com/office/drawing/2014/main" val="20002"/>
                    </a:ext>
                  </a:extLst>
                </a:gridCol>
              </a:tblGrid>
              <a:tr h="381918">
                <a:tc gridSpan="3">
                  <a:txBody>
                    <a:bodyPr/>
                    <a:lstStyle/>
                    <a:p>
                      <a:pPr marL="0" marR="0" lvl="0" indent="0" algn="l" rtl="0">
                        <a:lnSpc>
                          <a:spcPct val="100000"/>
                        </a:lnSpc>
                        <a:spcBef>
                          <a:spcPts val="0"/>
                        </a:spcBef>
                        <a:spcAft>
                          <a:spcPts val="0"/>
                        </a:spcAft>
                        <a:buClr>
                          <a:srgbClr val="000000"/>
                        </a:buClr>
                        <a:buSzPts val="1300"/>
                        <a:buFont typeface="Arial"/>
                        <a:buNone/>
                      </a:pPr>
                      <a:r>
                        <a:rPr lang="en-US" sz="1300" b="1" u="none" strike="noStrike" cap="none" dirty="0">
                          <a:solidFill>
                            <a:schemeClr val="lt1"/>
                          </a:solidFill>
                        </a:rPr>
                        <a:t>Potential culture KPIs </a:t>
                      </a:r>
                      <a:endParaRPr sz="1300" u="none" strike="noStrike" cap="none" dirty="0"/>
                    </a:p>
                  </a:txBody>
                  <a:tcPr marL="91450" marR="91450" marT="45725" marB="45725"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1"/>
                    </a:solidFill>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10000"/>
                  </a:ext>
                </a:extLst>
              </a:tr>
              <a:tr h="910750">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 improvement on culture index from engagement survey</a:t>
                      </a:r>
                      <a:endParaRPr sz="13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chemeClr val="dk1"/>
                        </a:buClr>
                        <a:buSzPts val="1100"/>
                        <a:buFont typeface="Arial"/>
                        <a:buNone/>
                      </a:pPr>
                      <a:r>
                        <a:rPr lang="en-US" sz="1300" i="0" u="none" strike="noStrike" cap="none" dirty="0">
                          <a:solidFill>
                            <a:srgbClr val="00002D"/>
                          </a:solidFill>
                        </a:rPr>
                        <a:t>% increase in employee engagement</a:t>
                      </a:r>
                      <a:endParaRPr sz="1300" i="0" u="none" strike="noStrike" cap="none" dirty="0">
                        <a:solidFill>
                          <a:srgbClr val="00002D"/>
                        </a:solidFill>
                      </a:endParaRPr>
                    </a:p>
                    <a:p>
                      <a:pPr marL="0" marR="0" lvl="0" indent="0" algn="l" rtl="0">
                        <a:lnSpc>
                          <a:spcPct val="100000"/>
                        </a:lnSpc>
                        <a:spcBef>
                          <a:spcPts val="0"/>
                        </a:spcBef>
                        <a:spcAft>
                          <a:spcPts val="0"/>
                        </a:spcAft>
                        <a:buClr>
                          <a:srgbClr val="000000"/>
                        </a:buClr>
                        <a:buSzPts val="1300"/>
                        <a:buFont typeface="Arial"/>
                        <a:buNone/>
                      </a:pPr>
                      <a:endParaRPr sz="1300" i="0" u="none" strike="noStrike" cap="none" dirty="0">
                        <a:solidFill>
                          <a:srgbClr val="00002D"/>
                        </a:solidFill>
                      </a:endParaRPr>
                    </a:p>
                    <a:p>
                      <a:pPr marL="0" marR="0" lvl="0" indent="0" algn="l" rtl="0">
                        <a:lnSpc>
                          <a:spcPct val="100000"/>
                        </a:lnSpc>
                        <a:spcBef>
                          <a:spcPts val="0"/>
                        </a:spcBef>
                        <a:spcAft>
                          <a:spcPts val="0"/>
                        </a:spcAft>
                        <a:buClr>
                          <a:srgbClr val="000000"/>
                        </a:buClr>
                        <a:buSzPts val="1300"/>
                        <a:buFont typeface="Arial"/>
                        <a:buNone/>
                      </a:pPr>
                      <a:endParaRPr sz="13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chemeClr val="dk1"/>
                        </a:buClr>
                        <a:buSzPts val="1300"/>
                        <a:buFont typeface="Arial"/>
                        <a:buNone/>
                      </a:pPr>
                      <a:r>
                        <a:rPr lang="en-US" sz="1300" i="0" u="none" strike="noStrike" cap="none" dirty="0">
                          <a:solidFill>
                            <a:srgbClr val="00002D"/>
                          </a:solidFill>
                        </a:rPr>
                        <a:t>% of employee champion volunteers</a:t>
                      </a:r>
                      <a:endParaRPr sz="14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1"/>
                  </a:ext>
                </a:extLst>
              </a:tr>
              <a:tr h="970550">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4"/>
                            </a:ext>
                          </a:extLst>
                        </a:rPr>
                        <a:t>Improved employee sentiment around culture alignment (qualitative)</a:t>
                      </a:r>
                      <a:endParaRPr sz="1300" i="0" u="none" strike="noStrike" cap="none" dirty="0">
                        <a:solidFill>
                          <a:srgbClr val="00002D"/>
                        </a:solidFill>
                      </a:endParaRPr>
                    </a:p>
                    <a:p>
                      <a:pPr marL="0" marR="0" lvl="0" indent="0" algn="l" rtl="0">
                        <a:lnSpc>
                          <a:spcPct val="100000"/>
                        </a:lnSpc>
                        <a:spcBef>
                          <a:spcPts val="0"/>
                        </a:spcBef>
                        <a:spcAft>
                          <a:spcPts val="0"/>
                        </a:spcAft>
                        <a:buClr>
                          <a:srgbClr val="000000"/>
                        </a:buClr>
                        <a:buSzPts val="1300"/>
                        <a:buFont typeface="Arial"/>
                        <a:buNone/>
                      </a:pPr>
                      <a:endParaRPr sz="13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 absence rate</a:t>
                      </a:r>
                      <a:endParaRPr sz="13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 of employees engaging in optional company events</a:t>
                      </a:r>
                      <a:endParaRPr sz="13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2"/>
                  </a:ext>
                </a:extLst>
              </a:tr>
              <a:tr h="753025">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 of employees joining ERGs</a:t>
                      </a:r>
                      <a:endParaRPr sz="13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DEI metrics</a:t>
                      </a:r>
                      <a:endParaRPr sz="13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Number of employee referrals for open positions</a:t>
                      </a:r>
                      <a:endParaRPr sz="13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3"/>
                  </a:ext>
                </a:extLst>
              </a:tr>
              <a:tr h="753025">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Employee Net Promoter Score</a:t>
                      </a:r>
                      <a:endParaRPr sz="13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Voluntary turnover rate</a:t>
                      </a:r>
                      <a:endParaRPr sz="13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Organization review scores and awards from job sites, such as Glassdoor</a:t>
                      </a:r>
                      <a:endParaRPr sz="13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77"/>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5EC1DA0-B4CF-6D24-DFAE-F377E7E0F83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D5EC1DA0-B4CF-6D24-DFAE-F377E7E0F83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78" name="Google Shape;178;g28ee88f8467_0_75"/>
          <p:cNvSpPr txBox="1">
            <a:spLocks noGrp="1"/>
          </p:cNvSpPr>
          <p:nvPr>
            <p:ph type="title"/>
          </p:nvPr>
        </p:nvSpPr>
        <p:spPr>
          <a:prstGeom prst="rect">
            <a:avLst/>
          </a:prstGeom>
          <a:noFill/>
          <a:ln>
            <a:noFill/>
          </a:ln>
        </p:spPr>
        <p:txBody>
          <a:bodyPr spcFirstLastPara="1" wrap="square" lIns="0" tIns="0" rIns="0" bIns="0" anchor="t" anchorCtr="0">
            <a:noAutofit/>
          </a:bodyPr>
          <a:lstStyle/>
          <a:p>
            <a:r>
              <a:rPr lang="en-US" sz="2400" dirty="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5"/>
                  </a:ext>
                </a:extLst>
              </a:rPr>
              <a:t>2. Create culture change statements</a:t>
            </a:r>
            <a:endParaRPr sz="2400" dirty="0"/>
          </a:p>
        </p:txBody>
      </p:sp>
      <p:graphicFrame>
        <p:nvGraphicFramePr>
          <p:cNvPr id="179" name="Google Shape;179;g28ee88f8467_0_75"/>
          <p:cNvGraphicFramePr/>
          <p:nvPr>
            <p:extLst>
              <p:ext uri="{D42A27DB-BD31-4B8C-83A1-F6EECF244321}">
                <p14:modId xmlns:p14="http://schemas.microsoft.com/office/powerpoint/2010/main" val="1889444722"/>
              </p:ext>
            </p:extLst>
          </p:nvPr>
        </p:nvGraphicFramePr>
        <p:xfrm>
          <a:off x="458713" y="1931996"/>
          <a:ext cx="11274575" cy="3442086"/>
        </p:xfrm>
        <a:graphic>
          <a:graphicData uri="http://schemas.openxmlformats.org/drawingml/2006/table">
            <a:tbl>
              <a:tblPr firstRow="1" bandRow="1">
                <a:noFill/>
              </a:tblPr>
              <a:tblGrid>
                <a:gridCol w="3625175">
                  <a:extLst>
                    <a:ext uri="{9D8B030D-6E8A-4147-A177-3AD203B41FA5}">
                      <a16:colId xmlns:a16="http://schemas.microsoft.com/office/drawing/2014/main" val="20000"/>
                    </a:ext>
                  </a:extLst>
                </a:gridCol>
                <a:gridCol w="3644400">
                  <a:extLst>
                    <a:ext uri="{9D8B030D-6E8A-4147-A177-3AD203B41FA5}">
                      <a16:colId xmlns:a16="http://schemas.microsoft.com/office/drawing/2014/main" val="20001"/>
                    </a:ext>
                  </a:extLst>
                </a:gridCol>
                <a:gridCol w="4005000">
                  <a:extLst>
                    <a:ext uri="{9D8B030D-6E8A-4147-A177-3AD203B41FA5}">
                      <a16:colId xmlns:a16="http://schemas.microsoft.com/office/drawing/2014/main" val="20002"/>
                    </a:ext>
                  </a:extLst>
                </a:gridCol>
              </a:tblGrid>
              <a:tr h="332700">
                <a:tc>
                  <a:txBody>
                    <a:bodyPr/>
                    <a:lstStyle/>
                    <a:p>
                      <a:pPr marL="0" marR="0" lvl="0" indent="0" algn="l" rtl="0">
                        <a:lnSpc>
                          <a:spcPct val="100000"/>
                        </a:lnSpc>
                        <a:spcBef>
                          <a:spcPts val="0"/>
                        </a:spcBef>
                        <a:spcAft>
                          <a:spcPts val="0"/>
                        </a:spcAft>
                        <a:buClr>
                          <a:srgbClr val="000000"/>
                        </a:buClr>
                        <a:buSzPts val="1200"/>
                        <a:buFont typeface="Arial"/>
                        <a:buNone/>
                      </a:pPr>
                      <a:r>
                        <a:rPr lang="en-US" sz="1300" b="1" u="none" strike="noStrike" cap="none" dirty="0">
                          <a:solidFill>
                            <a:schemeClr val="lt1"/>
                          </a:solidFill>
                        </a:rPr>
                        <a:t>From  </a:t>
                      </a:r>
                      <a:endParaRPr sz="1300" u="none" strike="noStrike" cap="none" dirty="0"/>
                    </a:p>
                  </a:txBody>
                  <a:tcPr marL="91450" marR="91450" marT="45725" marB="45725"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300" b="1" u="none" strike="noStrike" cap="none" dirty="0">
                          <a:solidFill>
                            <a:schemeClr val="lt1"/>
                          </a:solidFill>
                        </a:rPr>
                        <a:t>To</a:t>
                      </a:r>
                      <a:endParaRPr sz="1300" u="none" strike="noStrike" cap="none" dirty="0"/>
                    </a:p>
                  </a:txBody>
                  <a:tcPr marL="91450" marR="91450" marT="45725" marB="45725"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300" b="1" u="none" strike="noStrike" cap="none" dirty="0">
                          <a:solidFill>
                            <a:schemeClr val="lt1"/>
                          </a:solidFill>
                        </a:rPr>
                        <a:t>Because</a:t>
                      </a:r>
                      <a:endParaRPr sz="1300" b="1" u="none" strike="noStrike" cap="none" dirty="0">
                        <a:solidFill>
                          <a:schemeClr val="lt1"/>
                        </a:solidFill>
                      </a:endParaRPr>
                    </a:p>
                  </a:txBody>
                  <a:tcPr marL="91450" marR="91450" marT="45725" marB="45725"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576050">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E.g., Risk averse: From expecting leaders to make decisions</a:t>
                      </a:r>
                      <a:endParaRPr sz="13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E.g., Innovative: To empowering autonomous decisions</a:t>
                      </a:r>
                      <a:endParaRPr sz="13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381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E.g., We need to adapt to the changing environment, market and customers and make decisions faster. </a:t>
                      </a:r>
                      <a:endParaRPr sz="13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1"/>
                  </a:ext>
                </a:extLst>
              </a:tr>
              <a:tr h="629976">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E.g., Siloed: From evaluating success by achieving team’s objectives</a:t>
                      </a:r>
                      <a:endParaRPr sz="13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E.g., Collaborative: To evaluating success by achieving the organization’s objectives</a:t>
                      </a:r>
                      <a:endParaRPr sz="13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381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E.g., Seamless customer experience requires that we have a one-company view of our customers.</a:t>
                      </a:r>
                      <a:endParaRPr sz="13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2"/>
                  </a:ext>
                </a:extLst>
              </a:tr>
              <a:tr h="448400">
                <a:tc>
                  <a:txBody>
                    <a:bodyPr/>
                    <a:lstStyle/>
                    <a:p>
                      <a:pPr marL="0" marR="0" lvl="0" indent="0" algn="l" rtl="0">
                        <a:lnSpc>
                          <a:spcPct val="100000"/>
                        </a:lnSpc>
                        <a:spcBef>
                          <a:spcPts val="0"/>
                        </a:spcBef>
                        <a:spcAft>
                          <a:spcPts val="0"/>
                        </a:spcAft>
                        <a:buClr>
                          <a:srgbClr val="000000"/>
                        </a:buClr>
                        <a:buSzPts val="1200"/>
                        <a:buFont typeface="Arial"/>
                        <a:buNone/>
                      </a:pPr>
                      <a:r>
                        <a:rPr lang="en-US" sz="1200" i="0" u="none" strike="noStrike" cap="none" dirty="0">
                          <a:solidFill>
                            <a:srgbClr val="00002D"/>
                          </a:solidFill>
                        </a:rPr>
                        <a:t>&lt;Insert text&gt;</a:t>
                      </a:r>
                      <a:endParaRPr sz="14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200" i="0" u="none" strike="noStrike" cap="none" dirty="0">
                          <a:solidFill>
                            <a:srgbClr val="00002D"/>
                          </a:solidFill>
                        </a:rPr>
                        <a:t>&lt;Insert text&gt;</a:t>
                      </a:r>
                      <a:endParaRPr sz="14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200" i="0" u="none" strike="noStrike" cap="none" dirty="0">
                          <a:solidFill>
                            <a:srgbClr val="00002D"/>
                          </a:solidFill>
                        </a:rPr>
                        <a:t>&lt;Insert text&gt;</a:t>
                      </a:r>
                      <a:endParaRPr sz="12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3"/>
                  </a:ext>
                </a:extLst>
              </a:tr>
              <a:tr h="448400">
                <a:tc>
                  <a:txBody>
                    <a:bodyPr/>
                    <a:lstStyle/>
                    <a:p>
                      <a:pPr marL="0" marR="0" lvl="0" indent="0" algn="l" rtl="0">
                        <a:lnSpc>
                          <a:spcPct val="100000"/>
                        </a:lnSpc>
                        <a:spcBef>
                          <a:spcPts val="0"/>
                        </a:spcBef>
                        <a:spcAft>
                          <a:spcPts val="0"/>
                        </a:spcAft>
                        <a:buClr>
                          <a:srgbClr val="000000"/>
                        </a:buClr>
                        <a:buSzPts val="1200"/>
                        <a:buFont typeface="Arial"/>
                        <a:buNone/>
                      </a:pPr>
                      <a:r>
                        <a:rPr lang="en-US" sz="1200" i="0" u="none" strike="noStrike" cap="none" dirty="0">
                          <a:solidFill>
                            <a:srgbClr val="00002D"/>
                          </a:solidFill>
                        </a:rPr>
                        <a:t>&lt;Insert text&gt;</a:t>
                      </a:r>
                      <a:endParaRPr sz="14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200" i="0" u="none" strike="noStrike" cap="none" dirty="0">
                          <a:solidFill>
                            <a:srgbClr val="00002D"/>
                          </a:solidFill>
                        </a:rPr>
                        <a:t>&lt;Insert text&gt;</a:t>
                      </a:r>
                      <a:endParaRPr sz="14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200" i="0" u="none" strike="noStrike" cap="none" dirty="0">
                          <a:solidFill>
                            <a:srgbClr val="00002D"/>
                          </a:solidFill>
                        </a:rPr>
                        <a:t>&lt;Insert text&gt;</a:t>
                      </a:r>
                      <a:endParaRPr sz="12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4"/>
                  </a:ext>
                </a:extLst>
              </a:tr>
              <a:tr h="448400">
                <a:tc>
                  <a:txBody>
                    <a:bodyPr/>
                    <a:lstStyle/>
                    <a:p>
                      <a:pPr marL="0" marR="0" lvl="0" indent="0" algn="l" rtl="0">
                        <a:lnSpc>
                          <a:spcPct val="100000"/>
                        </a:lnSpc>
                        <a:spcBef>
                          <a:spcPts val="0"/>
                        </a:spcBef>
                        <a:spcAft>
                          <a:spcPts val="0"/>
                        </a:spcAft>
                        <a:buClr>
                          <a:srgbClr val="000000"/>
                        </a:buClr>
                        <a:buSzPts val="1200"/>
                        <a:buFont typeface="Arial"/>
                        <a:buNone/>
                      </a:pPr>
                      <a:r>
                        <a:rPr lang="en-US" sz="1200" i="0" u="none" strike="noStrike" cap="none">
                          <a:solidFill>
                            <a:srgbClr val="00002D"/>
                          </a:solidFill>
                        </a:rPr>
                        <a:t>&lt;Insert text&gt;</a:t>
                      </a:r>
                      <a:endParaRPr sz="1400" i="0" u="none" strike="noStrike" cap="none">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200" i="0" u="none" strike="noStrike" cap="none" dirty="0">
                          <a:solidFill>
                            <a:srgbClr val="00002D"/>
                          </a:solidFill>
                        </a:rPr>
                        <a:t>&lt;Insert text&gt;</a:t>
                      </a:r>
                      <a:endParaRPr sz="14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200" i="0" u="none" strike="noStrike" cap="none" dirty="0">
                          <a:solidFill>
                            <a:srgbClr val="00002D"/>
                          </a:solidFill>
                        </a:rPr>
                        <a:t>&lt;Insert text&gt;</a:t>
                      </a:r>
                      <a:endParaRPr sz="12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5"/>
                  </a:ext>
                </a:extLst>
              </a:tr>
              <a:tr h="448400">
                <a:tc>
                  <a:txBody>
                    <a:bodyPr/>
                    <a:lstStyle/>
                    <a:p>
                      <a:pPr marL="0" marR="0" lvl="0" indent="0" algn="l" rtl="0">
                        <a:lnSpc>
                          <a:spcPct val="100000"/>
                        </a:lnSpc>
                        <a:spcBef>
                          <a:spcPts val="0"/>
                        </a:spcBef>
                        <a:spcAft>
                          <a:spcPts val="0"/>
                        </a:spcAft>
                        <a:buClr>
                          <a:srgbClr val="000000"/>
                        </a:buClr>
                        <a:buSzPts val="1200"/>
                        <a:buFont typeface="Arial"/>
                        <a:buNone/>
                      </a:pPr>
                      <a:r>
                        <a:rPr lang="en-US" sz="1200" i="0" u="none" strike="noStrike" cap="none">
                          <a:solidFill>
                            <a:srgbClr val="00002D"/>
                          </a:solidFill>
                        </a:rPr>
                        <a:t>&lt;Insert text&gt;</a:t>
                      </a:r>
                      <a:endParaRPr sz="1400" i="0" u="none" strike="noStrike" cap="none">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200" i="0" u="none" strike="noStrike" cap="none">
                          <a:solidFill>
                            <a:srgbClr val="00002D"/>
                          </a:solidFill>
                        </a:rPr>
                        <a:t>&lt;Insert text&gt;</a:t>
                      </a:r>
                      <a:endParaRPr sz="1400" i="0" u="none" strike="noStrike" cap="none">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200" i="0" u="none" strike="noStrike" cap="none" dirty="0">
                          <a:solidFill>
                            <a:srgbClr val="00002D"/>
                          </a:solidFill>
                        </a:rPr>
                        <a:t>&lt;Insert text&gt;</a:t>
                      </a:r>
                      <a:endParaRPr sz="12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180" name="Google Shape;180;g28ee88f8467_0_75"/>
          <p:cNvSpPr/>
          <p:nvPr/>
        </p:nvSpPr>
        <p:spPr>
          <a:xfrm>
            <a:off x="457200" y="863323"/>
            <a:ext cx="11274600" cy="1018500"/>
          </a:xfrm>
          <a:prstGeom prst="rect">
            <a:avLst/>
          </a:prstGeom>
          <a:solidFill>
            <a:srgbClr val="E0F1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dirty="0">
                <a:solidFill>
                  <a:srgbClr val="000000"/>
                </a:solidFil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6"/>
                  </a:ext>
                </a:extLst>
              </a:rPr>
              <a:t>Instructions</a:t>
            </a:r>
            <a:r>
              <a:rPr lang="en-US" sz="1200" b="1" i="0" u="none" strike="noStrike" cap="none" dirty="0">
                <a:solidFill>
                  <a:srgbClr val="000000"/>
                </a:solidFill>
                <a:ea typeface="Arial"/>
                <a:cs typeface="Arial"/>
                <a:sym typeface="Arial"/>
              </a:rPr>
              <a:t>:</a:t>
            </a:r>
            <a:r>
              <a:rPr lang="en-US" sz="1200" b="0" i="0" u="none" strike="noStrike" cap="none" dirty="0">
                <a:solidFill>
                  <a:srgbClr val="000000"/>
                </a:solidFill>
                <a:ea typeface="Arial"/>
                <a:cs typeface="Arial"/>
                <a:sym typeface="Arial"/>
              </a:rPr>
              <a:t> </a:t>
            </a:r>
            <a:r>
              <a:rPr lang="en-US" sz="1200" b="0" i="0" u="none" strike="noStrike" cap="none" dirty="0">
                <a:solidFill>
                  <a:srgbClr val="000000"/>
                </a:solidFil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7"/>
                  </a:ext>
                </a:extLst>
              </a:rPr>
              <a:t>Create </a:t>
            </a:r>
            <a:r>
              <a:rPr lang="en-US" sz="1200" dirty="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7"/>
                  </a:ext>
                </a:extLst>
              </a:rPr>
              <a:t>high-level</a:t>
            </a:r>
            <a:r>
              <a:rPr lang="en-US" sz="1200" b="0" i="0" u="none" strike="noStrike" cap="none" dirty="0">
                <a:solidFill>
                  <a:srgbClr val="000000"/>
                </a:solidFil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7"/>
                  </a:ext>
                </a:extLst>
              </a:rPr>
              <a:t> statements to understand the culture gap to be measured between current and desired culture state. For each row:</a:t>
            </a:r>
            <a:endParaRPr sz="1200" b="0" i="0" u="none" strike="noStrike" cap="none" dirty="0">
              <a:solidFill>
                <a:srgbClr val="000000"/>
              </a:solidFil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8"/>
                </a:ext>
              </a:extLst>
            </a:endParaRPr>
          </a:p>
          <a:p>
            <a:pPr marL="182880" marR="0" lvl="0" indent="-182880" algn="l" rtl="0">
              <a:lnSpc>
                <a:spcPct val="100000"/>
              </a:lnSpc>
              <a:spcBef>
                <a:spcPts val="0"/>
              </a:spcBef>
              <a:spcAft>
                <a:spcPts val="0"/>
              </a:spcAft>
              <a:buClr>
                <a:srgbClr val="000000"/>
              </a:buClr>
              <a:buSzPts val="1300"/>
              <a:buFont typeface="Arial"/>
              <a:buAutoNum type="arabicPeriod"/>
            </a:pPr>
            <a:r>
              <a:rPr lang="en-US" sz="1200" b="0" i="0" u="none" strike="noStrike" cap="none" dirty="0">
                <a:solidFill>
                  <a:srgbClr val="000000"/>
                </a:solidFil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9"/>
                  </a:ext>
                </a:extLst>
              </a:rPr>
              <a:t>Fill in the </a:t>
            </a:r>
            <a:r>
              <a:rPr lang="en-US" sz="1200" dirty="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9"/>
                  </a:ext>
                </a:extLst>
              </a:rPr>
              <a:t>"From"</a:t>
            </a:r>
            <a:r>
              <a:rPr lang="en-US" sz="1200" b="0" i="0" u="none" strike="noStrike" cap="none" dirty="0">
                <a:solidFill>
                  <a:srgbClr val="000000"/>
                </a:solidFil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9"/>
                  </a:ext>
                </a:extLst>
              </a:rPr>
              <a:t> column with </a:t>
            </a:r>
            <a:r>
              <a:rPr lang="en-US" sz="1200" dirty="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9"/>
                  </a:ext>
                </a:extLst>
              </a:rPr>
              <a:t>high-level</a:t>
            </a:r>
            <a:r>
              <a:rPr lang="en-US" sz="1200" b="0" i="0" u="none" strike="noStrike" cap="none" dirty="0">
                <a:solidFill>
                  <a:srgbClr val="000000"/>
                </a:solidFil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9"/>
                  </a:ext>
                </a:extLst>
              </a:rPr>
              <a:t> statements articulating your current culture state. </a:t>
            </a:r>
            <a:endParaRPr sz="1200" b="0" i="0" u="none" strike="noStrike" cap="none" dirty="0">
              <a:solidFill>
                <a:srgbClr val="000000"/>
              </a:solidFill>
              <a:ea typeface="Arial"/>
              <a:cs typeface="Arial"/>
            </a:endParaRPr>
          </a:p>
          <a:p>
            <a:pPr marL="182880" marR="0" lvl="0" indent="-182880" algn="l" rtl="0">
              <a:lnSpc>
                <a:spcPct val="100000"/>
              </a:lnSpc>
              <a:spcBef>
                <a:spcPts val="0"/>
              </a:spcBef>
              <a:spcAft>
                <a:spcPts val="0"/>
              </a:spcAft>
              <a:buClr>
                <a:srgbClr val="000000"/>
              </a:buClr>
              <a:buSzPts val="1300"/>
              <a:buFont typeface="Arial"/>
              <a:buAutoNum type="arabicPeriod"/>
            </a:pPr>
            <a:r>
              <a:rPr lang="en-US" sz="1200" dirty="0">
                <a:solidFill>
                  <a:schemeClr val="dk1"/>
                </a:solidFill>
              </a:rPr>
              <a:t>C</a:t>
            </a:r>
            <a:r>
              <a:rPr lang="en-US" sz="1200" b="0" i="0" u="none" strike="noStrike" cap="none" dirty="0">
                <a:solidFill>
                  <a:schemeClr val="dk1"/>
                </a:solidFill>
                <a:ea typeface="Arial"/>
                <a:cs typeface="Arial"/>
                <a:sym typeface="Arial"/>
              </a:rPr>
              <a:t>omplete the </a:t>
            </a:r>
            <a:r>
              <a:rPr lang="en-US" sz="1200" dirty="0">
                <a:solidFill>
                  <a:schemeClr val="dk1"/>
                </a:solidFill>
              </a:rPr>
              <a:t>"To"</a:t>
            </a:r>
            <a:r>
              <a:rPr lang="en-US" sz="1200" b="0" i="0" u="none" strike="noStrike" cap="none" dirty="0">
                <a:solidFill>
                  <a:schemeClr val="dk1"/>
                </a:solidFill>
                <a:ea typeface="Arial"/>
                <a:cs typeface="Arial"/>
                <a:sym typeface="Arial"/>
              </a:rPr>
              <a:t> column with relevant values.</a:t>
            </a:r>
            <a:endParaRPr sz="1200" b="0" i="0" u="none" strike="noStrike" cap="none" dirty="0">
              <a:solidFill>
                <a:schemeClr val="dk1"/>
              </a:solidFill>
              <a:ea typeface="Arial"/>
              <a:cs typeface="Arial"/>
              <a:sym typeface="Arial"/>
            </a:endParaRPr>
          </a:p>
          <a:p>
            <a:pPr marL="182880" marR="0" lvl="0" indent="-182880" algn="l" rtl="0">
              <a:lnSpc>
                <a:spcPct val="100000"/>
              </a:lnSpc>
              <a:spcBef>
                <a:spcPts val="0"/>
              </a:spcBef>
              <a:spcAft>
                <a:spcPts val="0"/>
              </a:spcAft>
              <a:buClr>
                <a:srgbClr val="000000"/>
              </a:buClr>
              <a:buSzPts val="1300"/>
              <a:buFont typeface="Arial"/>
              <a:buAutoNum type="arabicPeriod"/>
            </a:pPr>
            <a:r>
              <a:rPr lang="en-US" sz="1200" dirty="0">
                <a:solidFill>
                  <a:schemeClr val="dk1"/>
                </a:solidFill>
              </a:rPr>
              <a:t>O</a:t>
            </a:r>
            <a:r>
              <a:rPr lang="en-US" sz="1200" b="0" i="0" u="none" strike="noStrike" cap="none" dirty="0">
                <a:solidFill>
                  <a:srgbClr val="000000"/>
                </a:solidFill>
                <a:ea typeface="Arial"/>
                <a:cs typeface="Arial"/>
                <a:sym typeface="Arial"/>
              </a:rPr>
              <a:t>utline the business case for the shift in the </a:t>
            </a:r>
            <a:r>
              <a:rPr lang="en-US" sz="1200" dirty="0"/>
              <a:t>"Because"</a:t>
            </a:r>
            <a:r>
              <a:rPr lang="en-US" sz="1200" b="0" i="0" u="none" strike="noStrike" cap="none" dirty="0">
                <a:solidFill>
                  <a:srgbClr val="000000"/>
                </a:solidFill>
                <a:ea typeface="Arial"/>
                <a:cs typeface="Arial"/>
                <a:sym typeface="Arial"/>
              </a:rPr>
              <a:t> column, considering business priorities and challenges.</a:t>
            </a:r>
            <a:endParaRPr sz="1200" b="0" i="0" u="none" strike="noStrike" cap="none" dirty="0">
              <a:solidFill>
                <a:srgbClr val="000000"/>
              </a:solidFill>
              <a:ea typeface="Arial"/>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8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6B05890-EC98-8E48-D2EB-32DB18E7DA5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56B05890-EC98-8E48-D2EB-32DB18E7DA5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85" name="Google Shape;185;g28ee88f8467_0_216"/>
          <p:cNvSpPr txBox="1">
            <a:spLocks noGrp="1"/>
          </p:cNvSpPr>
          <p:nvPr>
            <p:ph type="title"/>
          </p:nvPr>
        </p:nvSpPr>
        <p:spPr>
          <a:prstGeom prst="rect">
            <a:avLst/>
          </a:prstGeom>
          <a:noFill/>
          <a:ln>
            <a:noFill/>
          </a:ln>
        </p:spPr>
        <p:txBody>
          <a:bodyPr spcFirstLastPara="1" wrap="square" lIns="0" tIns="0" rIns="0" bIns="0" anchor="t" anchorCtr="0">
            <a:noAutofit/>
          </a:bodyPr>
          <a:lstStyle/>
          <a:p>
            <a:r>
              <a:rPr lang="en-US" sz="2400" dirty="0"/>
              <a:t>3. Identify success measures for each culture change statement</a:t>
            </a:r>
            <a:endParaRPr sz="2400" dirty="0"/>
          </a:p>
        </p:txBody>
      </p:sp>
      <p:graphicFrame>
        <p:nvGraphicFramePr>
          <p:cNvPr id="186" name="Google Shape;186;g28ee88f8467_0_216"/>
          <p:cNvGraphicFramePr/>
          <p:nvPr>
            <p:extLst>
              <p:ext uri="{D42A27DB-BD31-4B8C-83A1-F6EECF244321}">
                <p14:modId xmlns:p14="http://schemas.microsoft.com/office/powerpoint/2010/main" val="1678628471"/>
              </p:ext>
            </p:extLst>
          </p:nvPr>
        </p:nvGraphicFramePr>
        <p:xfrm>
          <a:off x="463375" y="1791022"/>
          <a:ext cx="11274600" cy="3652695"/>
        </p:xfrm>
        <a:graphic>
          <a:graphicData uri="http://schemas.openxmlformats.org/drawingml/2006/table">
            <a:tbl>
              <a:tblPr firstRow="1" bandRow="1">
                <a:noFill/>
              </a:tblPr>
              <a:tblGrid>
                <a:gridCol w="3758200">
                  <a:extLst>
                    <a:ext uri="{9D8B030D-6E8A-4147-A177-3AD203B41FA5}">
                      <a16:colId xmlns:a16="http://schemas.microsoft.com/office/drawing/2014/main" val="20000"/>
                    </a:ext>
                  </a:extLst>
                </a:gridCol>
                <a:gridCol w="3758200">
                  <a:extLst>
                    <a:ext uri="{9D8B030D-6E8A-4147-A177-3AD203B41FA5}">
                      <a16:colId xmlns:a16="http://schemas.microsoft.com/office/drawing/2014/main" val="20001"/>
                    </a:ext>
                  </a:extLst>
                </a:gridCol>
                <a:gridCol w="3758200">
                  <a:extLst>
                    <a:ext uri="{9D8B030D-6E8A-4147-A177-3AD203B41FA5}">
                      <a16:colId xmlns:a16="http://schemas.microsoft.com/office/drawing/2014/main" val="20002"/>
                    </a:ext>
                  </a:extLst>
                </a:gridCol>
              </a:tblGrid>
              <a:tr h="319400">
                <a:tc>
                  <a:txBody>
                    <a:bodyPr/>
                    <a:lstStyle/>
                    <a:p>
                      <a:pPr marL="0" marR="0" lvl="0" indent="0" algn="l" rtl="0">
                        <a:lnSpc>
                          <a:spcPct val="100000"/>
                        </a:lnSpc>
                        <a:spcBef>
                          <a:spcPts val="0"/>
                        </a:spcBef>
                        <a:spcAft>
                          <a:spcPts val="0"/>
                        </a:spcAft>
                        <a:buClr>
                          <a:srgbClr val="000000"/>
                        </a:buClr>
                        <a:buSzPts val="1200"/>
                        <a:buFont typeface="Arial"/>
                        <a:buNone/>
                      </a:pPr>
                      <a:r>
                        <a:rPr lang="en-US" sz="1300" b="1" u="none" strike="noStrike" cap="none" dirty="0">
                          <a:solidFill>
                            <a:schemeClr val="lt1"/>
                          </a:solidFill>
                        </a:rPr>
                        <a:t>To</a:t>
                      </a:r>
                      <a:endParaRPr sz="1300" u="none" strike="noStrike" cap="none" dirty="0"/>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accent1"/>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300" b="1" u="none" strike="noStrike" cap="none" dirty="0">
                          <a:solidFill>
                            <a:schemeClr val="lt1"/>
                          </a:solidFill>
                        </a:rPr>
                        <a:t>How</a:t>
                      </a:r>
                      <a:endParaRPr sz="1300" b="1" u="none" strike="noStrike" cap="none" dirty="0">
                        <a:solidFill>
                          <a:schemeClr val="lt1"/>
                        </a:solidFil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accent1"/>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300" b="1" u="none" strike="noStrike" cap="none" dirty="0">
                          <a:solidFill>
                            <a:schemeClr val="lt1"/>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0"/>
                            </a:ext>
                          </a:extLst>
                        </a:rPr>
                        <a:t>Success measures</a:t>
                      </a:r>
                      <a:endParaRPr sz="1300" b="1" u="none" strike="noStrike" cap="none" dirty="0">
                        <a:solidFill>
                          <a:schemeClr val="lt1"/>
                        </a:solidFil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accent1"/>
                    </a:solidFill>
                  </a:tcPr>
                </a:tc>
                <a:extLst>
                  <a:ext uri="{0D108BD9-81ED-4DB2-BD59-A6C34878D82A}">
                    <a16:rowId xmlns:a16="http://schemas.microsoft.com/office/drawing/2014/main" val="10000"/>
                  </a:ext>
                </a:extLst>
              </a:tr>
              <a:tr h="988500">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E.g., To empowering autonomous decisions</a:t>
                      </a:r>
                      <a:endParaRPr sz="1300" i="0" u="none" strike="noStrike" cap="none" dirty="0">
                        <a:solidFill>
                          <a:srgbClr val="00002D"/>
                        </a:solidFil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E.g., Adjust individual contributor performance expectations to demonstrate effective decision making.</a:t>
                      </a:r>
                      <a:endParaRPr sz="1300" i="0" u="none" strike="noStrike" cap="none" dirty="0">
                        <a:solidFill>
                          <a:srgbClr val="00002D"/>
                        </a:solidFil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182880" marR="0" lvl="0" indent="-182880" algn="l" rtl="0">
                        <a:lnSpc>
                          <a:spcPct val="100000"/>
                        </a:lnSpc>
                        <a:spcBef>
                          <a:spcPts val="0"/>
                        </a:spcBef>
                        <a:spcAft>
                          <a:spcPts val="0"/>
                        </a:spcAft>
                        <a:buClr>
                          <a:schemeClr val="dk1"/>
                        </a:buClr>
                        <a:buSzPts val="1300"/>
                        <a:buFont typeface="Arial" panose="020B0604020202020204" pitchFamily="34" charset="0"/>
                        <a:buChar char="•"/>
                      </a:pPr>
                      <a:r>
                        <a:rPr lang="en-US" sz="1300" i="0" u="none" strike="noStrike" cap="none" dirty="0">
                          <a:solidFill>
                            <a:srgbClr val="00002D"/>
                          </a:solidFill>
                        </a:rPr>
                        <a:t>E.g., % $ savings due to new ideas </a:t>
                      </a:r>
                      <a:endParaRPr sz="1300" i="0" u="none" strike="noStrike" cap="none" dirty="0">
                        <a:solidFill>
                          <a:srgbClr val="00002D"/>
                        </a:solidFill>
                      </a:endParaRPr>
                    </a:p>
                    <a:p>
                      <a:pPr marL="182880" marR="0" lvl="0" indent="-182880" algn="l" rtl="0">
                        <a:lnSpc>
                          <a:spcPct val="100000"/>
                        </a:lnSpc>
                        <a:spcBef>
                          <a:spcPts val="0"/>
                        </a:spcBef>
                        <a:spcAft>
                          <a:spcPts val="0"/>
                        </a:spcAft>
                        <a:buClr>
                          <a:schemeClr val="dk1"/>
                        </a:buClr>
                        <a:buSzPts val="1300"/>
                        <a:buFont typeface="Arial" panose="020B0604020202020204" pitchFamily="34" charset="0"/>
                        <a:buChar char="•"/>
                      </a:pPr>
                      <a:r>
                        <a:rPr lang="en-US" sz="1300" i="0" u="none" strike="noStrike" cap="none" dirty="0">
                          <a:solidFill>
                            <a:srgbClr val="00002D"/>
                          </a:solidFill>
                        </a:rPr>
                        <a:t>E.g., Improved sentiment around employee autonomy and strategic influence</a:t>
                      </a:r>
                      <a:endParaRPr sz="1300" i="0" u="none" strike="noStrike" cap="none" dirty="0">
                        <a:solidFill>
                          <a:srgbClr val="00002D"/>
                        </a:solidFil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1"/>
                  </a:ext>
                </a:extLst>
              </a:tr>
              <a:tr h="1029125">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E.g., To evaluating success by achieving the organization’s objectives</a:t>
                      </a:r>
                      <a:endParaRPr sz="1300" i="0" u="none" strike="noStrike" cap="none" dirty="0">
                        <a:solidFill>
                          <a:srgbClr val="00002D"/>
                        </a:solidFil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E.g., Adjust recognition progra</a:t>
                      </a:r>
                      <a:r>
                        <a:rPr lang="en-US" sz="1300" i="0" dirty="0">
                          <a:solidFill>
                            <a:srgbClr val="00002D"/>
                          </a:solidFill>
                        </a:rPr>
                        <a:t>m</a:t>
                      </a:r>
                      <a:r>
                        <a:rPr lang="en-US" sz="1300" i="0" u="none" strike="noStrike" cap="none" dirty="0">
                          <a:solidFill>
                            <a:srgbClr val="00002D"/>
                          </a:solidFill>
                        </a:rPr>
                        <a:t>s to emphasi</a:t>
                      </a:r>
                      <a:r>
                        <a:rPr lang="en-US" sz="1300" i="0" dirty="0">
                          <a:solidFill>
                            <a:srgbClr val="00002D"/>
                          </a:solidFill>
                        </a:rPr>
                        <a:t>z</a:t>
                      </a:r>
                      <a:r>
                        <a:rPr lang="en-US" sz="1300" i="0" u="none" strike="noStrike" cap="none" dirty="0">
                          <a:solidFill>
                            <a:srgbClr val="00002D"/>
                          </a:solidFill>
                        </a:rPr>
                        <a:t>e organi</a:t>
                      </a:r>
                      <a:r>
                        <a:rPr lang="en-US" sz="1300" i="0" dirty="0">
                          <a:solidFill>
                            <a:srgbClr val="00002D"/>
                          </a:solidFill>
                        </a:rPr>
                        <a:t>z</a:t>
                      </a:r>
                      <a:r>
                        <a:rPr lang="en-US" sz="1300" i="0" u="none" strike="noStrike" cap="none" dirty="0">
                          <a:solidFill>
                            <a:srgbClr val="00002D"/>
                          </a:solidFill>
                        </a:rPr>
                        <a:t>ational over team objectives.</a:t>
                      </a:r>
                      <a:endParaRPr sz="1300" i="0" u="none" strike="noStrike" cap="none" dirty="0">
                        <a:solidFill>
                          <a:srgbClr val="00002D"/>
                        </a:solidFil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182880" marR="0" lvl="0" indent="-182880" algn="l" rtl="0">
                        <a:lnSpc>
                          <a:spcPct val="100000"/>
                        </a:lnSpc>
                        <a:spcBef>
                          <a:spcPts val="0"/>
                        </a:spcBef>
                        <a:spcAft>
                          <a:spcPts val="0"/>
                        </a:spcAft>
                        <a:buClr>
                          <a:schemeClr val="dk1"/>
                        </a:buClr>
                        <a:buSzPts val="1300"/>
                        <a:buFont typeface="Arial" panose="020B0604020202020204" pitchFamily="34" charset="0"/>
                        <a:buChar char="•"/>
                      </a:pPr>
                      <a:r>
                        <a:rPr lang="en-US" sz="1300" i="0" u="none" strike="noStrike" cap="none" dirty="0">
                          <a:solidFill>
                            <a:srgbClr val="00002D"/>
                          </a:solidFill>
                        </a:rPr>
                        <a:t>E.g., Empl</a:t>
                      </a:r>
                      <a:r>
                        <a:rPr lang="en-US" sz="1300" i="0" u="none" strike="noStrike" cap="none" dirty="0">
                          <a:solidFill>
                            <a:srgbClr val="00002D"/>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1"/>
                            </a:ext>
                          </a:extLst>
                        </a:rPr>
                        <a:t>oyees feel heard and like their opinion matters</a:t>
                      </a:r>
                      <a:endParaRPr sz="1300" i="0" u="none" strike="noStrike" cap="none" dirty="0">
                        <a:solidFill>
                          <a:srgbClr val="00002D"/>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2"/>
                          </a:ext>
                        </a:extLst>
                      </a:endParaRPr>
                    </a:p>
                    <a:p>
                      <a:pPr marL="182880" marR="0" lvl="0" indent="-182880" algn="l" rtl="0">
                        <a:lnSpc>
                          <a:spcPct val="100000"/>
                        </a:lnSpc>
                        <a:spcBef>
                          <a:spcPts val="0"/>
                        </a:spcBef>
                        <a:spcAft>
                          <a:spcPts val="0"/>
                        </a:spcAft>
                        <a:buClr>
                          <a:schemeClr val="dk1"/>
                        </a:buClr>
                        <a:buSzPts val="1300"/>
                        <a:buFont typeface="Arial" panose="020B0604020202020204" pitchFamily="34" charset="0"/>
                        <a:buChar char="•"/>
                      </a:pPr>
                      <a:r>
                        <a:rPr lang="en-US" sz="1300" i="0" u="none" strike="noStrike" cap="none" dirty="0">
                          <a:solidFill>
                            <a:srgbClr val="00002D"/>
                          </a:solidFill>
                        </a:rPr>
                        <a:t>E.g., </a:t>
                      </a:r>
                      <a:r>
                        <a:rPr lang="en-US" sz="1300" i="0" u="none" strike="noStrike" cap="none" dirty="0">
                          <a:solidFill>
                            <a:srgbClr val="00002D"/>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3"/>
                            </a:ext>
                          </a:extLst>
                        </a:rPr>
                        <a:t>% increase in collaboration-focused recognition a</a:t>
                      </a:r>
                      <a:r>
                        <a:rPr lang="en-US" sz="1300" i="0" u="none" strike="noStrike" cap="none" dirty="0">
                          <a:solidFill>
                            <a:srgbClr val="00002D"/>
                          </a:solidFill>
                        </a:rPr>
                        <a:t>ctivities</a:t>
                      </a:r>
                      <a:endParaRPr sz="1300" i="0" u="none" strike="noStrike" cap="none" dirty="0">
                        <a:solidFill>
                          <a:srgbClr val="00002D"/>
                        </a:solidFill>
                      </a:endParaRPr>
                    </a:p>
                    <a:p>
                      <a:pPr marL="182880" marR="0" lvl="0" indent="-182880" algn="l" rtl="0">
                        <a:lnSpc>
                          <a:spcPct val="100000"/>
                        </a:lnSpc>
                        <a:spcBef>
                          <a:spcPts val="0"/>
                        </a:spcBef>
                        <a:spcAft>
                          <a:spcPts val="0"/>
                        </a:spcAft>
                        <a:buClr>
                          <a:schemeClr val="dk1"/>
                        </a:buClr>
                        <a:buSzPts val="1300"/>
                        <a:buFont typeface="Arial" panose="020B0604020202020204" pitchFamily="34" charset="0"/>
                        <a:buChar char="•"/>
                      </a:pPr>
                      <a:r>
                        <a:rPr lang="en-US" sz="1300" i="0" u="none" strike="noStrike" cap="none" dirty="0">
                          <a:solidFill>
                            <a:srgbClr val="00002D"/>
                          </a:solidFill>
                        </a:rPr>
                        <a:t>E.g., Increased number of cross-functional projects</a:t>
                      </a:r>
                      <a:endParaRPr sz="1300" i="0" u="none" strike="noStrike" cap="none" dirty="0">
                        <a:solidFill>
                          <a:srgbClr val="00002D"/>
                        </a:solidFil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2"/>
                  </a:ext>
                </a:extLst>
              </a:tr>
              <a:tr h="354875">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a:solidFill>
                            <a:srgbClr val="00002D"/>
                          </a:solidFill>
                        </a:rPr>
                        <a:t>&lt;Insert text&gt;</a:t>
                      </a:r>
                      <a:endParaRPr sz="1300" i="0" u="none" strike="noStrike" cap="none">
                        <a:solidFill>
                          <a:srgbClr val="00002D"/>
                        </a:solidFil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lt;Insert text&gt;</a:t>
                      </a:r>
                      <a:endParaRPr sz="1300" i="0" u="none" strike="noStrike" cap="none" dirty="0">
                        <a:solidFill>
                          <a:srgbClr val="00002D"/>
                        </a:solidFil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lt;Insert text&gt;</a:t>
                      </a:r>
                      <a:endParaRPr sz="1300" i="0" u="none" strike="noStrike" cap="none" dirty="0">
                        <a:solidFill>
                          <a:srgbClr val="00002D"/>
                        </a:solidFil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3"/>
                  </a:ext>
                </a:extLst>
              </a:tr>
              <a:tr h="354875">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a:solidFill>
                            <a:srgbClr val="00002D"/>
                          </a:solidFill>
                        </a:rPr>
                        <a:t>&lt;Insert text&gt;</a:t>
                      </a:r>
                      <a:endParaRPr sz="1300" i="0" u="none" strike="noStrike" cap="none">
                        <a:solidFill>
                          <a:srgbClr val="00002D"/>
                        </a:solidFil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a:solidFill>
                            <a:srgbClr val="00002D"/>
                          </a:solidFill>
                        </a:rPr>
                        <a:t>&lt;Insert text&gt;</a:t>
                      </a:r>
                      <a:endParaRPr sz="1300" i="0" u="none" strike="noStrike" cap="none">
                        <a:solidFill>
                          <a:srgbClr val="00002D"/>
                        </a:solidFil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lt;Insert text&gt;</a:t>
                      </a:r>
                      <a:endParaRPr sz="1300" i="0" u="none" strike="noStrike" cap="none" dirty="0">
                        <a:solidFill>
                          <a:srgbClr val="00002D"/>
                        </a:solidFil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4"/>
                  </a:ext>
                </a:extLst>
              </a:tr>
              <a:tr h="354875">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a:solidFill>
                            <a:srgbClr val="00002D"/>
                          </a:solidFill>
                        </a:rPr>
                        <a:t>&lt;Insert text&gt;</a:t>
                      </a:r>
                      <a:endParaRPr sz="1300" i="0" u="none" strike="noStrike" cap="none">
                        <a:solidFill>
                          <a:srgbClr val="00002D"/>
                        </a:solidFil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a:solidFill>
                            <a:srgbClr val="00002D"/>
                          </a:solidFill>
                        </a:rPr>
                        <a:t>&lt;Insert text&gt;</a:t>
                      </a:r>
                      <a:endParaRPr sz="1300" i="0" u="none" strike="noStrike" cap="none">
                        <a:solidFill>
                          <a:srgbClr val="00002D"/>
                        </a:solidFil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300"/>
                        <a:buFont typeface="Arial"/>
                        <a:buNone/>
                      </a:pPr>
                      <a:r>
                        <a:rPr lang="en-US" sz="1300" i="0" u="none" strike="noStrike" cap="none" dirty="0">
                          <a:solidFill>
                            <a:srgbClr val="00002D"/>
                          </a:solidFill>
                        </a:rPr>
                        <a:t>&lt;Insert text&gt;</a:t>
                      </a:r>
                      <a:endParaRPr sz="1300" i="0" u="none" strike="noStrike" cap="none" dirty="0">
                        <a:solidFill>
                          <a:srgbClr val="00002D"/>
                        </a:solidFil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5"/>
                  </a:ext>
                </a:extLst>
              </a:tr>
            </a:tbl>
          </a:graphicData>
        </a:graphic>
      </p:graphicFrame>
      <p:sp>
        <p:nvSpPr>
          <p:cNvPr id="187" name="Google Shape;187;g28ee88f8467_0_216"/>
          <p:cNvSpPr/>
          <p:nvPr/>
        </p:nvSpPr>
        <p:spPr>
          <a:xfrm>
            <a:off x="457200" y="852489"/>
            <a:ext cx="11274600" cy="899194"/>
          </a:xfrm>
          <a:prstGeom prst="rect">
            <a:avLst/>
          </a:prstGeom>
          <a:solidFill>
            <a:srgbClr val="E0F1FF"/>
          </a:solidFill>
          <a:ln>
            <a:noFill/>
          </a:ln>
        </p:spPr>
        <p:txBody>
          <a:bodyPr spcFirstLastPara="1" wrap="square" lIns="91425" tIns="45700" rIns="91425" bIns="45700" anchor="ctr" anchorCtr="0">
            <a:noAutofit/>
          </a:bodyPr>
          <a:lstStyle/>
          <a:p>
            <a:pPr>
              <a:buSzPts val="1200"/>
            </a:pPr>
            <a:r>
              <a:rPr lang="en-US" sz="1200" b="1" dirty="0">
                <a:solidFill>
                  <a:schemeClr val="dk1"/>
                </a:solidFill>
              </a:rPr>
              <a:t>Instructions:</a:t>
            </a:r>
            <a:r>
              <a:rPr lang="en-US" sz="1200" dirty="0">
                <a:solidFill>
                  <a:schemeClr val="dk1"/>
                </a:solidFill>
              </a:rPr>
              <a:t> </a:t>
            </a:r>
            <a:r>
              <a:rPr lang="en-US" sz="1200" dirty="0"/>
              <a:t>Brainstorm initiatives for how you would achieve your desired culture state to help you think through potential success measures.</a:t>
            </a:r>
            <a:endParaRPr sz="1200" b="0" i="0" u="none" strike="noStrike" cap="none" dirty="0">
              <a:solidFill>
                <a:srgbClr val="000000"/>
              </a:solidFill>
              <a:ea typeface="Arial"/>
              <a:cs typeface="Arial"/>
              <a:sym typeface="Arial"/>
            </a:endParaRPr>
          </a:p>
          <a:p>
            <a:pPr marL="182880" marR="0" lvl="0" indent="-182880" algn="l" rtl="0">
              <a:lnSpc>
                <a:spcPct val="100000"/>
              </a:lnSpc>
              <a:spcBef>
                <a:spcPts val="0"/>
              </a:spcBef>
              <a:spcAft>
                <a:spcPts val="0"/>
              </a:spcAft>
              <a:buClr>
                <a:schemeClr val="dk1"/>
              </a:buClr>
              <a:buSzPts val="1300"/>
              <a:buFont typeface="Arial"/>
              <a:buAutoNum type="arabicPeriod"/>
            </a:pPr>
            <a:r>
              <a:rPr lang="en-US" sz="1200" b="0" i="0" u="none" strike="noStrike" cap="none" dirty="0">
                <a:solidFill>
                  <a:schemeClr val="dk1"/>
                </a:solidFill>
                <a:ea typeface="Arial"/>
                <a:cs typeface="Arial"/>
                <a:sym typeface="Arial"/>
              </a:rPr>
              <a:t>Repeat the </a:t>
            </a:r>
            <a:r>
              <a:rPr lang="en-US" sz="1200" dirty="0">
                <a:solidFill>
                  <a:schemeClr val="dk1"/>
                </a:solidFill>
              </a:rPr>
              <a:t>"To"</a:t>
            </a:r>
            <a:r>
              <a:rPr lang="en-US" sz="1200" b="0" i="0" u="none" strike="noStrike" cap="none" dirty="0">
                <a:solidFill>
                  <a:schemeClr val="dk1"/>
                </a:solidFill>
                <a:ea typeface="Arial"/>
                <a:cs typeface="Arial"/>
                <a:sym typeface="Arial"/>
              </a:rPr>
              <a:t> statements from </a:t>
            </a:r>
            <a:r>
              <a:rPr lang="en-US" sz="1200" b="0" i="0" u="sng" strike="noStrike" cap="none" dirty="0">
                <a:solidFill>
                  <a:schemeClr val="hlink"/>
                </a:solidFill>
                <a:ea typeface="Arial"/>
                <a:cs typeface="Arial"/>
                <a:sym typeface="Arial"/>
                <a:hlinkClick r:id="rId6" action="ppaction://hlinksldjump">
                  <a:extLst>
                    <a:ext uri="{A12FA001-AC4F-418D-AE19-62706E023703}">
                      <ahyp:hlinkClr xmlns:ahyp="http://schemas.microsoft.com/office/drawing/2018/hyperlinkcolor" val="tx"/>
                    </a:ext>
                  </a:extLst>
                </a:hlinkClick>
              </a:rPr>
              <a:t>Slide 4</a:t>
            </a:r>
            <a:r>
              <a:rPr lang="en-US" sz="1200" b="0" i="0" u="none" strike="noStrike" cap="none" dirty="0">
                <a:solidFill>
                  <a:schemeClr val="dk1"/>
                </a:solidFill>
                <a:ea typeface="Arial"/>
                <a:cs typeface="Arial"/>
                <a:sym typeface="Arial"/>
              </a:rPr>
              <a:t> in the first column. </a:t>
            </a:r>
            <a:endParaRPr sz="1200" b="0" i="0" u="none" strike="noStrike" cap="none" dirty="0">
              <a:solidFill>
                <a:schemeClr val="dk1"/>
              </a:solidFill>
              <a:ea typeface="Arial"/>
              <a:cs typeface="Arial"/>
              <a:sym typeface="Arial"/>
            </a:endParaRPr>
          </a:p>
          <a:p>
            <a:pPr marL="182880" marR="0" lvl="0" indent="-182880" algn="l" rtl="0">
              <a:lnSpc>
                <a:spcPct val="100000"/>
              </a:lnSpc>
              <a:spcBef>
                <a:spcPts val="0"/>
              </a:spcBef>
              <a:spcAft>
                <a:spcPts val="0"/>
              </a:spcAft>
              <a:buClr>
                <a:schemeClr val="dk1"/>
              </a:buClr>
              <a:buSzPts val="1300"/>
              <a:buFont typeface="Arial"/>
              <a:buAutoNum type="arabicPeriod"/>
            </a:pPr>
            <a:r>
              <a:rPr lang="en-US" sz="1200" b="0" i="0" u="none" strike="noStrike" cap="none" dirty="0">
                <a:solidFill>
                  <a:schemeClr val="dk1"/>
                </a:solidFill>
                <a:ea typeface="Arial"/>
                <a:cs typeface="Arial"/>
                <a:sym typeface="Arial"/>
              </a:rPr>
              <a:t>Discuss examples of initiatives and opportunities to achieve this desired state in the middle column.</a:t>
            </a:r>
            <a:endParaRPr sz="1200" b="0" i="0" u="none" strike="noStrike" cap="none" dirty="0">
              <a:solidFill>
                <a:schemeClr val="dk1"/>
              </a:solidFill>
              <a:ea typeface="Arial"/>
              <a:cs typeface="Arial"/>
              <a:sym typeface="Arial"/>
            </a:endParaRPr>
          </a:p>
          <a:p>
            <a:pPr marL="182880" marR="0" lvl="0" indent="-182880" algn="l" rtl="0">
              <a:lnSpc>
                <a:spcPct val="100000"/>
              </a:lnSpc>
              <a:spcBef>
                <a:spcPts val="0"/>
              </a:spcBef>
              <a:spcAft>
                <a:spcPts val="0"/>
              </a:spcAft>
              <a:buClr>
                <a:schemeClr val="dk1"/>
              </a:buClr>
              <a:buSzPts val="1300"/>
              <a:buFont typeface="Arial"/>
              <a:buAutoNum type="arabicPeriod"/>
            </a:pPr>
            <a:r>
              <a:rPr lang="en-US" sz="1200" b="0" i="0" u="none" strike="noStrike" cap="none" dirty="0">
                <a:solidFill>
                  <a:schemeClr val="dk1"/>
                </a:solidFill>
                <a:ea typeface="Arial"/>
                <a:cs typeface="Arial"/>
                <a:sym typeface="Arial"/>
              </a:rPr>
              <a:t>Outline potential success measures in the right-hand column based on the gap and initiatives outlined. </a:t>
            </a:r>
            <a:endParaRPr sz="1200" b="0" i="0" u="none" strike="noStrike" cap="none" dirty="0">
              <a:solidFill>
                <a:srgbClr val="000000"/>
              </a:solidFill>
              <a:highlight>
                <a:srgbClr val="FF0000"/>
              </a:highlight>
              <a:ea typeface="Arial"/>
              <a:cs typeface="Arial"/>
              <a:sym typeface="Arial"/>
            </a:endParaRPr>
          </a:p>
        </p:txBody>
      </p:sp>
      <p:sp>
        <p:nvSpPr>
          <p:cNvPr id="188" name="Google Shape;188;g28ee88f8467_0_216"/>
          <p:cNvSpPr/>
          <p:nvPr/>
        </p:nvSpPr>
        <p:spPr>
          <a:xfrm>
            <a:off x="692300" y="6255500"/>
            <a:ext cx="1890000" cy="151200"/>
          </a:xfrm>
          <a:prstGeom prst="rect">
            <a:avLst/>
          </a:prstGeom>
          <a:solidFill>
            <a:schemeClr val="lt2"/>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960A2D5-1524-644F-5DA5-CDAB6295D61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0960A2D5-1524-644F-5DA5-CDAB6295D61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93" name="Google Shape;193;g2afca631894_1_76"/>
          <p:cNvSpPr txBox="1">
            <a:spLocks noGrp="1"/>
          </p:cNvSpPr>
          <p:nvPr>
            <p:ph type="title"/>
          </p:nvPr>
        </p:nvSpPr>
        <p:spPr>
          <a:xfrm>
            <a:off x="457200" y="361950"/>
            <a:ext cx="9767100" cy="451200"/>
          </a:xfrm>
          <a:prstGeom prst="rect">
            <a:avLst/>
          </a:prstGeom>
          <a:noFill/>
          <a:ln>
            <a:noFill/>
          </a:ln>
        </p:spPr>
        <p:txBody>
          <a:bodyPr spcFirstLastPara="1" wrap="square" lIns="0" tIns="0" rIns="0" bIns="0" anchor="t" anchorCtr="0">
            <a:noAutofit/>
          </a:bodyPr>
          <a:lstStyle/>
          <a:p>
            <a:pPr>
              <a:buSzPts val="2800"/>
            </a:pPr>
            <a:r>
              <a:rPr lang="en-US" sz="2400" dirty="0"/>
              <a:t>4. Capture culture measurement goals</a:t>
            </a:r>
            <a:endParaRPr sz="2400" dirty="0"/>
          </a:p>
        </p:txBody>
      </p:sp>
      <p:graphicFrame>
        <p:nvGraphicFramePr>
          <p:cNvPr id="194" name="Google Shape;194;g2afca631894_1_76"/>
          <p:cNvGraphicFramePr/>
          <p:nvPr>
            <p:extLst>
              <p:ext uri="{D42A27DB-BD31-4B8C-83A1-F6EECF244321}">
                <p14:modId xmlns:p14="http://schemas.microsoft.com/office/powerpoint/2010/main" val="2483608717"/>
              </p:ext>
            </p:extLst>
          </p:nvPr>
        </p:nvGraphicFramePr>
        <p:xfrm>
          <a:off x="457199" y="1691624"/>
          <a:ext cx="11274600" cy="4411660"/>
        </p:xfrm>
        <a:graphic>
          <a:graphicData uri="http://schemas.openxmlformats.org/drawingml/2006/table">
            <a:tbl>
              <a:tblPr firstRow="1" bandRow="1">
                <a:noFill/>
              </a:tblPr>
              <a:tblGrid>
                <a:gridCol w="5503925">
                  <a:extLst>
                    <a:ext uri="{9D8B030D-6E8A-4147-A177-3AD203B41FA5}">
                      <a16:colId xmlns:a16="http://schemas.microsoft.com/office/drawing/2014/main" val="20000"/>
                    </a:ext>
                  </a:extLst>
                </a:gridCol>
                <a:gridCol w="5770675">
                  <a:extLst>
                    <a:ext uri="{9D8B030D-6E8A-4147-A177-3AD203B41FA5}">
                      <a16:colId xmlns:a16="http://schemas.microsoft.com/office/drawing/2014/main" val="20001"/>
                    </a:ext>
                  </a:extLst>
                </a:gridCol>
              </a:tblGrid>
              <a:tr h="380975">
                <a:tc>
                  <a:txBody>
                    <a:bodyPr/>
                    <a:lstStyle/>
                    <a:p>
                      <a:pPr marL="0" marR="0" lvl="0" indent="0" algn="l" rtl="0">
                        <a:lnSpc>
                          <a:spcPct val="100000"/>
                        </a:lnSpc>
                        <a:spcBef>
                          <a:spcPts val="0"/>
                        </a:spcBef>
                        <a:spcAft>
                          <a:spcPts val="0"/>
                        </a:spcAft>
                        <a:buClr>
                          <a:srgbClr val="000000"/>
                        </a:buClr>
                        <a:buSzPts val="1200"/>
                        <a:buFont typeface="Arial"/>
                        <a:buNone/>
                      </a:pPr>
                      <a:r>
                        <a:rPr lang="en-US" sz="1300" b="1" i="0" u="none" strike="noStrike" cap="none" dirty="0">
                          <a:solidFill>
                            <a:schemeClr val="bg1"/>
                          </a:solidFill>
                        </a:rPr>
                        <a:t>Overarching culture metrics</a:t>
                      </a:r>
                      <a:endParaRPr sz="1300" b="1" i="0" u="none" strike="noStrike" cap="none" dirty="0">
                        <a:solidFill>
                          <a:schemeClr val="bg1"/>
                        </a:solidFill>
                      </a:endParaRPr>
                    </a:p>
                  </a:txBody>
                  <a:tcPr marL="91450" marR="91450" marT="45725" marB="45725"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300" b="1" i="0" u="none" strike="noStrike" cap="none" dirty="0">
                          <a:solidFill>
                            <a:schemeClr val="bg1"/>
                          </a:solidFill>
                        </a:rPr>
                        <a:t>Goals</a:t>
                      </a:r>
                      <a:endParaRPr sz="1300" b="1" i="0" u="none" strike="noStrike" cap="none" dirty="0">
                        <a:solidFill>
                          <a:schemeClr val="bg1"/>
                        </a:solidFill>
                      </a:endParaRPr>
                    </a:p>
                  </a:txBody>
                  <a:tcPr marL="91450" marR="91450" marT="45725" marB="45725"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325550">
                <a:tc>
                  <a:txBody>
                    <a:bodyPr/>
                    <a:lstStyle/>
                    <a:p>
                      <a:pPr marL="0" marR="0" lvl="0" indent="0" algn="l" rtl="0">
                        <a:lnSpc>
                          <a:spcPct val="100000"/>
                        </a:lnSpc>
                        <a:spcBef>
                          <a:spcPts val="0"/>
                        </a:spcBef>
                        <a:spcAft>
                          <a:spcPts val="0"/>
                        </a:spcAft>
                        <a:buClr>
                          <a:srgbClr val="000000"/>
                        </a:buClr>
                        <a:buSzPts val="1200"/>
                        <a:buFont typeface="Arial"/>
                        <a:buNone/>
                      </a:pPr>
                      <a:r>
                        <a:rPr lang="en-US" sz="1200" i="0" u="none" strike="noStrike" cap="none" dirty="0">
                          <a:solidFill>
                            <a:srgbClr val="00002D"/>
                          </a:solidFill>
                        </a:rPr>
                        <a:t>E.g., Increase in Employee Net Promoter Score</a:t>
                      </a:r>
                      <a:endParaRPr sz="12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chemeClr val="dk1"/>
                        </a:buClr>
                        <a:buSzPts val="1100"/>
                        <a:buFont typeface="Arial"/>
                        <a:buNone/>
                      </a:pPr>
                      <a:r>
                        <a:rPr lang="en-US" sz="1200" i="0" u="none" strike="noStrike" cap="none" dirty="0">
                          <a:solidFill>
                            <a:srgbClr val="00002D"/>
                          </a:solidFill>
                        </a:rPr>
                        <a:t>&lt;Insert text&gt;</a:t>
                      </a:r>
                      <a:endParaRPr sz="12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L="0" marR="0" lvl="0" indent="0" algn="l" rtl="0">
                        <a:lnSpc>
                          <a:spcPct val="100000"/>
                        </a:lnSpc>
                        <a:spcBef>
                          <a:spcPts val="0"/>
                        </a:spcBef>
                        <a:spcAft>
                          <a:spcPts val="0"/>
                        </a:spcAft>
                        <a:buClr>
                          <a:schemeClr val="dk1"/>
                        </a:buClr>
                        <a:buSzPts val="1200"/>
                        <a:buFont typeface="Arial"/>
                        <a:buNone/>
                      </a:pPr>
                      <a:r>
                        <a:rPr lang="en-US" sz="1200" i="0" u="none" strike="noStrike" cap="none" dirty="0">
                          <a:solidFill>
                            <a:srgbClr val="00002D"/>
                          </a:solidFill>
                        </a:rPr>
                        <a:t>E.g., Reduced turnover </a:t>
                      </a:r>
                      <a:endParaRPr sz="12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chemeClr val="dk1"/>
                        </a:buClr>
                        <a:buSzPts val="1100"/>
                        <a:buFont typeface="Arial"/>
                        <a:buNone/>
                      </a:pPr>
                      <a:r>
                        <a:rPr lang="en-US" sz="1200" i="0" u="none" strike="noStrike" cap="none" dirty="0">
                          <a:solidFill>
                            <a:srgbClr val="00002D"/>
                          </a:solidFill>
                        </a:rPr>
                        <a:t>&lt;Insert text&gt;</a:t>
                      </a:r>
                      <a:endParaRPr sz="12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2"/>
                  </a:ext>
                </a:extLst>
              </a:tr>
              <a:tr h="309075">
                <a:tc>
                  <a:txBody>
                    <a:bodyPr/>
                    <a:lstStyle/>
                    <a:p>
                      <a:pPr marL="0" marR="0" lvl="0" indent="0" algn="l" rtl="0">
                        <a:lnSpc>
                          <a:spcPct val="100000"/>
                        </a:lnSpc>
                        <a:spcBef>
                          <a:spcPts val="0"/>
                        </a:spcBef>
                        <a:spcAft>
                          <a:spcPts val="0"/>
                        </a:spcAft>
                        <a:buClr>
                          <a:srgbClr val="000000"/>
                        </a:buClr>
                        <a:buSzPts val="1200"/>
                        <a:buFont typeface="Arial"/>
                        <a:buNone/>
                      </a:pPr>
                      <a:r>
                        <a:rPr lang="en-US" sz="1300" b="1" i="0" u="none" strike="noStrike" cap="none" dirty="0">
                          <a:solidFill>
                            <a:schemeClr val="lt1"/>
                          </a:solidFill>
                        </a:rPr>
                        <a:t>Culture values</a:t>
                      </a:r>
                      <a:endParaRPr sz="1300" i="0" u="none" strike="noStrike" cap="none" dirty="0"/>
                    </a:p>
                  </a:txBody>
                  <a:tcPr marL="91450" marR="91450" marT="45725" marB="45725"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1"/>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300" b="1" i="0" u="none" strike="noStrike" cap="none" dirty="0">
                          <a:solidFill>
                            <a:schemeClr val="lt1"/>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7"/>
                            </a:ext>
                          </a:extLst>
                        </a:rPr>
                        <a:t>Goals/KPIs</a:t>
                      </a:r>
                      <a:endParaRPr sz="1300" b="1" i="0" u="none" strike="noStrike" cap="none" dirty="0">
                        <a:solidFill>
                          <a:schemeClr val="lt1"/>
                        </a:solidFill>
                      </a:endParaRPr>
                    </a:p>
                  </a:txBody>
                  <a:tcPr marL="91450" marR="91450" marT="45725" marB="45725"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1"/>
                    </a:solidFill>
                  </a:tcPr>
                </a:tc>
                <a:extLst>
                  <a:ext uri="{0D108BD9-81ED-4DB2-BD59-A6C34878D82A}">
                    <a16:rowId xmlns:a16="http://schemas.microsoft.com/office/drawing/2014/main" val="10003"/>
                  </a:ext>
                </a:extLst>
              </a:tr>
              <a:tr h="417850">
                <a:tc>
                  <a:txBody>
                    <a:bodyPr/>
                    <a:lstStyle/>
                    <a:p>
                      <a:pPr marL="0" marR="0" lvl="0" indent="0" algn="l" rtl="0">
                        <a:lnSpc>
                          <a:spcPct val="100000"/>
                        </a:lnSpc>
                        <a:spcBef>
                          <a:spcPts val="0"/>
                        </a:spcBef>
                        <a:spcAft>
                          <a:spcPts val="0"/>
                        </a:spcAft>
                        <a:buClr>
                          <a:srgbClr val="000000"/>
                        </a:buClr>
                        <a:buSzPts val="1200"/>
                        <a:buFont typeface="Arial"/>
                        <a:buNone/>
                      </a:pPr>
                      <a:r>
                        <a:rPr lang="en-US" sz="1200" i="0" u="none" strike="noStrike" cap="none" dirty="0">
                          <a:solidFill>
                            <a:srgbClr val="00002D"/>
                          </a:solidFill>
                        </a:rPr>
                        <a:t>E.g., Innovative</a:t>
                      </a:r>
                      <a:endParaRPr sz="12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200" i="0" u="none" strike="noStrike" cap="none" dirty="0">
                          <a:solidFill>
                            <a:srgbClr val="00002D"/>
                          </a:solidFill>
                        </a:rPr>
                        <a:t>E.g., </a:t>
                      </a:r>
                      <a:endParaRPr sz="1200" i="0" u="none" strike="noStrike" cap="none" dirty="0">
                        <a:solidFill>
                          <a:srgbClr val="00002D"/>
                        </a:solidFill>
                      </a:endParaRPr>
                    </a:p>
                    <a:p>
                      <a:pPr marL="182880" marR="0" lvl="0" indent="-182880" algn="l" rtl="0">
                        <a:lnSpc>
                          <a:spcPct val="100000"/>
                        </a:lnSpc>
                        <a:spcBef>
                          <a:spcPts val="0"/>
                        </a:spcBef>
                        <a:spcAft>
                          <a:spcPts val="0"/>
                        </a:spcAft>
                        <a:buClr>
                          <a:srgbClr val="000000"/>
                        </a:buClr>
                        <a:buSzPts val="1200"/>
                        <a:buFont typeface="Arial" panose="020B0604020202020204" pitchFamily="34" charset="0"/>
                        <a:buChar char="•"/>
                      </a:pPr>
                      <a:r>
                        <a:rPr lang="en-US" sz="1200" i="0" u="none" strike="noStrike" cap="none" dirty="0">
                          <a:solidFill>
                            <a:srgbClr val="00002D"/>
                          </a:solidFill>
                        </a:rPr>
                        <a:t>Improved sentiment around employee autonomy and strategic influence</a:t>
                      </a:r>
                      <a:endParaRPr sz="1200" i="0" u="none" strike="noStrike" cap="none" dirty="0">
                        <a:solidFill>
                          <a:srgbClr val="00002D"/>
                        </a:solidFill>
                      </a:endParaRPr>
                    </a:p>
                    <a:p>
                      <a:pPr marL="182880" marR="0" lvl="0" indent="-182880" algn="l" rtl="0">
                        <a:lnSpc>
                          <a:spcPct val="100000"/>
                        </a:lnSpc>
                        <a:spcBef>
                          <a:spcPts val="0"/>
                        </a:spcBef>
                        <a:spcAft>
                          <a:spcPts val="0"/>
                        </a:spcAft>
                        <a:buClr>
                          <a:srgbClr val="000000"/>
                        </a:buClr>
                        <a:buSzPts val="1200"/>
                        <a:buFont typeface="Arial" panose="020B0604020202020204" pitchFamily="34" charset="0"/>
                        <a:buChar char="•"/>
                      </a:pPr>
                      <a:r>
                        <a:rPr lang="en-US" sz="1200" i="0" u="none" strike="noStrike" cap="none" dirty="0">
                          <a:solidFill>
                            <a:srgbClr val="00002D"/>
                          </a:solidFill>
                        </a:rPr>
                        <a:t>% $ savings due to new ideas </a:t>
                      </a:r>
                      <a:endParaRPr sz="12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4"/>
                  </a:ext>
                </a:extLst>
              </a:tr>
              <a:tr h="515150">
                <a:tc>
                  <a:txBody>
                    <a:bodyPr/>
                    <a:lstStyle/>
                    <a:p>
                      <a:pPr marL="0" marR="0" lvl="0" indent="0" algn="l" rtl="0">
                        <a:lnSpc>
                          <a:spcPct val="100000"/>
                        </a:lnSpc>
                        <a:spcBef>
                          <a:spcPts val="0"/>
                        </a:spcBef>
                        <a:spcAft>
                          <a:spcPts val="0"/>
                        </a:spcAft>
                        <a:buClr>
                          <a:srgbClr val="000000"/>
                        </a:buClr>
                        <a:buSzPts val="1200"/>
                        <a:buFont typeface="Arial"/>
                        <a:buNone/>
                      </a:pPr>
                      <a:r>
                        <a:rPr lang="en-US" sz="1200" i="0" u="none" strike="noStrike" cap="none" dirty="0">
                          <a:solidFill>
                            <a:srgbClr val="00002D"/>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8"/>
                            </a:ext>
                          </a:extLst>
                        </a:rPr>
                        <a:t>E.g., </a:t>
                      </a:r>
                      <a:r>
                        <a:rPr lang="en-US" sz="1200" i="0" u="none" strike="noStrike" cap="none" dirty="0">
                          <a:solidFill>
                            <a:srgbClr val="00002D"/>
                          </a:solidFill>
                        </a:rPr>
                        <a:t>Equality</a:t>
                      </a:r>
                      <a:endParaRPr sz="12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200" i="0" u="none" strike="noStrike" cap="none" dirty="0">
                          <a:solidFill>
                            <a:srgbClr val="00002D"/>
                          </a:solidFill>
                        </a:rPr>
                        <a:t>E.g., </a:t>
                      </a:r>
                      <a:endParaRPr sz="1200" i="0" u="none" strike="noStrike" cap="none" dirty="0">
                        <a:solidFill>
                          <a:srgbClr val="00002D"/>
                        </a:solidFill>
                      </a:endParaRPr>
                    </a:p>
                    <a:p>
                      <a:pPr marL="182880" marR="0" lvl="0" indent="-182880" algn="l" rtl="0">
                        <a:lnSpc>
                          <a:spcPct val="100000"/>
                        </a:lnSpc>
                        <a:spcBef>
                          <a:spcPts val="0"/>
                        </a:spcBef>
                        <a:spcAft>
                          <a:spcPts val="0"/>
                        </a:spcAft>
                        <a:buClr>
                          <a:schemeClr val="dk1"/>
                        </a:buClr>
                        <a:buSzPts val="1200"/>
                        <a:buFont typeface="Arial" panose="020B0604020202020204" pitchFamily="34" charset="0"/>
                        <a:buChar char="•"/>
                      </a:pPr>
                      <a:r>
                        <a:rPr lang="en-US" sz="1200" i="0" u="none" strike="noStrike" cap="none" dirty="0">
                          <a:solidFill>
                            <a:srgbClr val="00002D"/>
                          </a:solidFill>
                        </a:rPr>
                        <a:t>Improved employee sentiment around equal opportunities</a:t>
                      </a:r>
                      <a:endParaRPr sz="1200" i="0" u="none" strike="noStrike" cap="none" dirty="0">
                        <a:solidFill>
                          <a:srgbClr val="00002D"/>
                        </a:solidFill>
                      </a:endParaRPr>
                    </a:p>
                    <a:p>
                      <a:pPr marL="182880" marR="0" lvl="0" indent="-182880" algn="l" rtl="0">
                        <a:lnSpc>
                          <a:spcPct val="100000"/>
                        </a:lnSpc>
                        <a:spcBef>
                          <a:spcPts val="0"/>
                        </a:spcBef>
                        <a:spcAft>
                          <a:spcPts val="0"/>
                        </a:spcAft>
                        <a:buClr>
                          <a:schemeClr val="dk1"/>
                        </a:buClr>
                        <a:buSzPts val="1200"/>
                        <a:buFont typeface="Arial" panose="020B0604020202020204" pitchFamily="34" charset="0"/>
                        <a:buChar char="•"/>
                      </a:pPr>
                      <a:r>
                        <a:rPr lang="en-US" sz="1200" i="0" u="none" strike="noStrike" cap="none" dirty="0">
                          <a:solidFill>
                            <a:srgbClr val="00002D"/>
                          </a:solidFill>
                        </a:rPr>
                        <a:t>Improved DEI metrics</a:t>
                      </a:r>
                      <a:endParaRPr sz="1200" i="0" u="none" strike="noStrike" cap="none" dirty="0">
                        <a:solidFill>
                          <a:srgbClr val="00002D"/>
                        </a:solidFill>
                      </a:endParaRPr>
                    </a:p>
                    <a:p>
                      <a:pPr marL="182880" marR="0" lvl="0" indent="-182880" algn="l" rtl="0">
                        <a:lnSpc>
                          <a:spcPct val="100000"/>
                        </a:lnSpc>
                        <a:spcBef>
                          <a:spcPts val="0"/>
                        </a:spcBef>
                        <a:spcAft>
                          <a:spcPts val="0"/>
                        </a:spcAft>
                        <a:buClr>
                          <a:schemeClr val="dk1"/>
                        </a:buClr>
                        <a:buSzPts val="1200"/>
                        <a:buFont typeface="Arial" panose="020B0604020202020204" pitchFamily="34" charset="0"/>
                        <a:buChar char="•"/>
                      </a:pPr>
                      <a:r>
                        <a:rPr lang="en-US" sz="1200" i="0" u="none" strike="noStrike" cap="none" dirty="0">
                          <a:solidFill>
                            <a:srgbClr val="00002D"/>
                          </a:solidFill>
                        </a:rPr>
                        <a:t>More diverse leadership bench</a:t>
                      </a:r>
                      <a:endParaRPr sz="12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5"/>
                  </a:ext>
                </a:extLst>
              </a:tr>
              <a:tr h="417850">
                <a:tc>
                  <a:txBody>
                    <a:bodyPr/>
                    <a:lstStyle/>
                    <a:p>
                      <a:pPr marL="0" marR="0" lvl="0" indent="0" algn="l" rtl="0">
                        <a:lnSpc>
                          <a:spcPct val="100000"/>
                        </a:lnSpc>
                        <a:spcBef>
                          <a:spcPts val="0"/>
                        </a:spcBef>
                        <a:spcAft>
                          <a:spcPts val="0"/>
                        </a:spcAft>
                        <a:buClr>
                          <a:srgbClr val="000000"/>
                        </a:buClr>
                        <a:buSzPts val="1200"/>
                        <a:buFont typeface="Arial"/>
                        <a:buNone/>
                      </a:pPr>
                      <a:r>
                        <a:rPr lang="en-US" sz="1200" i="0" u="none" strike="noStrike" cap="none" dirty="0">
                          <a:solidFill>
                            <a:srgbClr val="00002D"/>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9"/>
                            </a:ext>
                          </a:extLst>
                        </a:rPr>
                        <a:t>E.g., </a:t>
                      </a:r>
                      <a:r>
                        <a:rPr lang="en-US" sz="1200" i="0" u="none" strike="noStrike" cap="none" dirty="0">
                          <a:solidFill>
                            <a:srgbClr val="00002D"/>
                          </a:solidFill>
                        </a:rPr>
                        <a:t>Collaborative</a:t>
                      </a:r>
                      <a:endParaRPr sz="12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200" i="0" u="none" strike="noStrike" cap="none" dirty="0">
                          <a:solidFill>
                            <a:srgbClr val="00002D"/>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0"/>
                            </a:ext>
                          </a:extLst>
                        </a:rPr>
                        <a:t>E.g., </a:t>
                      </a:r>
                      <a:endParaRPr sz="1200" i="0" u="none" strike="noStrike" cap="none" dirty="0">
                        <a:solidFill>
                          <a:srgbClr val="00002D"/>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1"/>
                          </a:ext>
                        </a:extLst>
                      </a:endParaRPr>
                    </a:p>
                    <a:p>
                      <a:pPr marL="182880" marR="0" lvl="0" indent="-182880" algn="l" rtl="0">
                        <a:lnSpc>
                          <a:spcPct val="100000"/>
                        </a:lnSpc>
                        <a:spcBef>
                          <a:spcPts val="0"/>
                        </a:spcBef>
                        <a:spcAft>
                          <a:spcPts val="0"/>
                        </a:spcAft>
                        <a:buClr>
                          <a:schemeClr val="dk1"/>
                        </a:buClr>
                        <a:buSzPts val="1200"/>
                        <a:buFont typeface="Arial" panose="020B0604020202020204" pitchFamily="34" charset="0"/>
                        <a:buChar char="•"/>
                      </a:pPr>
                      <a:r>
                        <a:rPr lang="en-US" sz="1200" i="0" u="none" strike="noStrike" cap="none" dirty="0">
                          <a:solidFill>
                            <a:srgbClr val="00002D"/>
                          </a:solidFill>
                        </a:rPr>
                        <a:t>Employees feel heard and like their opinion matters</a:t>
                      </a:r>
                      <a:endParaRPr sz="1200" i="0" u="none" strike="noStrike" cap="none" dirty="0">
                        <a:solidFill>
                          <a:srgbClr val="00002D"/>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2"/>
                          </a:ext>
                        </a:extLst>
                      </a:endParaRPr>
                    </a:p>
                    <a:p>
                      <a:pPr marL="182880" marR="0" lvl="0" indent="-182880" algn="l" rtl="0">
                        <a:lnSpc>
                          <a:spcPct val="100000"/>
                        </a:lnSpc>
                        <a:spcBef>
                          <a:spcPts val="0"/>
                        </a:spcBef>
                        <a:spcAft>
                          <a:spcPts val="0"/>
                        </a:spcAft>
                        <a:buClr>
                          <a:schemeClr val="dk1"/>
                        </a:buClr>
                        <a:buSzPts val="1200"/>
                        <a:buFont typeface="Arial" panose="020B0604020202020204" pitchFamily="34" charset="0"/>
                        <a:buChar char="•"/>
                      </a:pPr>
                      <a:r>
                        <a:rPr lang="en-US" sz="1200" i="0" u="none" strike="noStrike" cap="none" dirty="0">
                          <a:solidFill>
                            <a:srgbClr val="00002D"/>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3"/>
                            </a:ext>
                          </a:extLst>
                        </a:rPr>
                        <a:t>Enterprise contribution metrics</a:t>
                      </a:r>
                      <a:endParaRPr sz="1200" i="0" u="none" strike="noStrike" cap="none" dirty="0">
                        <a:solidFill>
                          <a:srgbClr val="00002D"/>
                        </a:solidFill>
                      </a:endParaRPr>
                    </a:p>
                    <a:p>
                      <a:pPr marL="182880" marR="0" lvl="0" indent="-182880" algn="l" rtl="0">
                        <a:lnSpc>
                          <a:spcPct val="100000"/>
                        </a:lnSpc>
                        <a:spcBef>
                          <a:spcPts val="0"/>
                        </a:spcBef>
                        <a:spcAft>
                          <a:spcPts val="0"/>
                        </a:spcAft>
                        <a:buClr>
                          <a:schemeClr val="dk1"/>
                        </a:buClr>
                        <a:buSzPts val="1200"/>
                        <a:buFont typeface="Arial" panose="020B0604020202020204" pitchFamily="34" charset="0"/>
                        <a:buChar char="•"/>
                      </a:pPr>
                      <a:r>
                        <a:rPr lang="en-US" sz="1200" i="0" u="none" strike="noStrike" cap="none" dirty="0">
                          <a:solidFill>
                            <a:srgbClr val="00002D"/>
                          </a:solidFill>
                        </a:rPr>
                        <a:t>% increase in collaboration-focused recognition activities</a:t>
                      </a:r>
                      <a:endParaRPr sz="12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6"/>
                  </a:ext>
                </a:extLst>
              </a:tr>
              <a:tr h="417850">
                <a:tc>
                  <a:txBody>
                    <a:bodyPr/>
                    <a:lstStyle/>
                    <a:p>
                      <a:pPr marL="0" marR="0" lvl="0" indent="0" algn="l" rtl="0">
                        <a:lnSpc>
                          <a:spcPct val="100000"/>
                        </a:lnSpc>
                        <a:spcBef>
                          <a:spcPts val="0"/>
                        </a:spcBef>
                        <a:spcAft>
                          <a:spcPts val="0"/>
                        </a:spcAft>
                        <a:buClr>
                          <a:schemeClr val="dk1"/>
                        </a:buClr>
                        <a:buSzPts val="1200"/>
                        <a:buFont typeface="Arial"/>
                        <a:buNone/>
                      </a:pPr>
                      <a:r>
                        <a:rPr lang="en-US" sz="1200" i="0" u="none" strike="noStrike" cap="none">
                          <a:solidFill>
                            <a:srgbClr val="00002D"/>
                          </a:solidFill>
                        </a:rPr>
                        <a:t>&lt;Insert text&gt;</a:t>
                      </a:r>
                      <a:endParaRPr sz="1200" i="0" u="none" strike="noStrike" cap="none">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200" i="0" u="none" strike="noStrike" cap="none" dirty="0">
                          <a:solidFill>
                            <a:srgbClr val="00002D"/>
                          </a:solidFill>
                        </a:rPr>
                        <a:t>&lt;Insert text&gt;</a:t>
                      </a:r>
                      <a:endParaRPr sz="12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7"/>
                  </a:ext>
                </a:extLst>
              </a:tr>
              <a:tr h="417850">
                <a:tc>
                  <a:txBody>
                    <a:bodyPr/>
                    <a:lstStyle/>
                    <a:p>
                      <a:pPr marL="0" marR="0" lvl="0" indent="0" algn="l" rtl="0">
                        <a:lnSpc>
                          <a:spcPct val="100000"/>
                        </a:lnSpc>
                        <a:spcBef>
                          <a:spcPts val="0"/>
                        </a:spcBef>
                        <a:spcAft>
                          <a:spcPts val="0"/>
                        </a:spcAft>
                        <a:buClr>
                          <a:schemeClr val="dk1"/>
                        </a:buClr>
                        <a:buSzPts val="1200"/>
                        <a:buFont typeface="Arial"/>
                        <a:buNone/>
                      </a:pPr>
                      <a:r>
                        <a:rPr lang="en-US" sz="1200" i="0" u="none" strike="noStrike" cap="none">
                          <a:solidFill>
                            <a:srgbClr val="00002D"/>
                          </a:solidFill>
                        </a:rPr>
                        <a:t>&lt;Insert text&gt;</a:t>
                      </a:r>
                      <a:endParaRPr sz="1200" i="0" u="none" strike="noStrike" cap="none">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200" i="0" u="none" strike="noStrike" cap="none" dirty="0">
                          <a:solidFill>
                            <a:srgbClr val="00002D"/>
                          </a:solidFill>
                        </a:rPr>
                        <a:t>&lt;Insert text&gt;</a:t>
                      </a:r>
                      <a:endParaRPr sz="1200" i="0" u="none" strike="noStrike" cap="none" dirty="0">
                        <a:solidFill>
                          <a:srgbClr val="00002D"/>
                        </a:solidFill>
                      </a:endParaRPr>
                    </a:p>
                  </a:txBody>
                  <a:tcPr marL="91450" marR="91450" marT="45725" marB="45725">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195" name="Google Shape;195;g2afca631894_1_76"/>
          <p:cNvSpPr/>
          <p:nvPr/>
        </p:nvSpPr>
        <p:spPr>
          <a:xfrm>
            <a:off x="457200" y="852487"/>
            <a:ext cx="11346873" cy="777687"/>
          </a:xfrm>
          <a:prstGeom prst="rect">
            <a:avLst/>
          </a:prstGeom>
          <a:solidFill>
            <a:srgbClr val="E0F1FF"/>
          </a:solidFill>
          <a:ln>
            <a:noFill/>
          </a:ln>
        </p:spPr>
        <p:txBody>
          <a:bodyPr spcFirstLastPara="1" wrap="square" lIns="91425" tIns="45700" rIns="91425" bIns="45700" anchor="ctr" anchorCtr="0">
            <a:noAutofit/>
          </a:bodyPr>
          <a:lstStyle/>
          <a:p>
            <a:pPr>
              <a:buClr>
                <a:schemeClr val="dk1"/>
              </a:buClr>
              <a:buSzPts val="1200"/>
            </a:pPr>
            <a:r>
              <a:rPr lang="en-US" sz="1200" b="1" dirty="0">
                <a:solidFill>
                  <a:schemeClr val="dk1"/>
                </a:solidFill>
              </a:rPr>
              <a:t>Instructions:</a:t>
            </a:r>
            <a:r>
              <a:rPr lang="en-US" sz="1200" dirty="0">
                <a:solidFill>
                  <a:schemeClr val="dk1"/>
                </a:solidFill>
              </a:rPr>
              <a:t> </a:t>
            </a:r>
            <a:r>
              <a:rPr lang="en-US" sz="1200" dirty="0"/>
              <a:t>Use this template to combine high-level and values-specific culture goals and KPIs for consideration when measuring success of your culture journey.</a:t>
            </a:r>
          </a:p>
          <a:p>
            <a:pPr marL="182880" lvl="0" indent="-182880">
              <a:buClr>
                <a:schemeClr val="dk1"/>
              </a:buClr>
              <a:buSzPts val="1200"/>
              <a:buFont typeface="Arial"/>
              <a:buAutoNum type="arabicPeriod"/>
            </a:pPr>
            <a:r>
              <a:rPr lang="en-US" sz="1200" b="0" i="0" strike="noStrike" cap="none" dirty="0">
                <a:solidFill>
                  <a:schemeClr val="dk1"/>
                </a:solidFill>
                <a:ea typeface="Arial"/>
                <a:cs typeface="Arial"/>
                <a:sym typeface="Arial"/>
              </a:rPr>
              <a:t>Select key overarching culture metrics from </a:t>
            </a:r>
            <a:r>
              <a:rPr lang="en-US" sz="1200" b="0" i="0" strike="noStrike" cap="none" dirty="0">
                <a:solidFill>
                  <a:schemeClr val="hlink"/>
                </a:solidFill>
                <a:ea typeface="Arial"/>
                <a:cs typeface="Arial"/>
                <a:sym typeface="Arial"/>
                <a:hlinkClick r:id="rId6" action="ppaction://hlinksldjump">
                  <a:extLst>
                    <a:ext uri="{A12FA001-AC4F-418D-AE19-62706E023703}">
                      <ahyp:hlinkClr xmlns:ahyp="http://schemas.microsoft.com/office/drawing/2018/hyperlinkcolor" val="tx"/>
                    </a:ext>
                  </a:extLst>
                </a:hlinkClick>
              </a:rPr>
              <a:t>Slide 3</a:t>
            </a:r>
            <a:r>
              <a:rPr lang="en-US" sz="1200" b="0" i="0" strike="noStrike" cap="none" dirty="0">
                <a:solidFill>
                  <a:schemeClr val="dk1"/>
                </a:solidFill>
                <a:ea typeface="Arial"/>
                <a:cs typeface="Arial"/>
                <a:sym typeface="Arial"/>
              </a:rPr>
              <a:t> that will </a:t>
            </a:r>
            <a:r>
              <a:rPr lang="en-US" sz="1200" b="0" i="0" strike="noStrike" cap="none" dirty="0">
                <a:solidFill>
                  <a:schemeClr val="dk1"/>
                </a:solidFil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4"/>
                  </a:ext>
                </a:extLst>
              </a:rPr>
              <a:t>allow you to understand progress </a:t>
            </a:r>
            <a:r>
              <a:rPr lang="en-US" sz="1200" dirty="0">
                <a:solidFill>
                  <a:schemeClr val="dk1"/>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4"/>
                  </a:ext>
                </a:extLst>
              </a:rPr>
              <a:t>toward</a:t>
            </a:r>
            <a:r>
              <a:rPr lang="en-US" sz="1200" b="0" i="0" strike="noStrike" cap="none" dirty="0">
                <a:solidFill>
                  <a:schemeClr val="dk1"/>
                </a:solidFil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4"/>
                  </a:ext>
                </a:extLst>
              </a:rPr>
              <a:t> your desired your culture goals</a:t>
            </a:r>
            <a:r>
              <a:rPr lang="en-US" sz="1200" b="0" i="0" strike="noStrike" cap="none" dirty="0">
                <a:solidFill>
                  <a:schemeClr val="dk1"/>
                </a:solidFill>
                <a:ea typeface="Arial"/>
                <a:cs typeface="Arial"/>
                <a:sym typeface="Arial"/>
              </a:rPr>
              <a:t>.</a:t>
            </a:r>
            <a:endParaRPr sz="1200" b="0" i="0" strike="noStrike" cap="none" dirty="0">
              <a:solidFill>
                <a:schemeClr val="dk1"/>
              </a:solidFill>
              <a:ea typeface="Arial"/>
              <a:cs typeface="Arial"/>
              <a:sym typeface="Arial"/>
            </a:endParaRPr>
          </a:p>
          <a:p>
            <a:pPr marL="182880" marR="0" lvl="0" indent="-182880" algn="l" rtl="0">
              <a:lnSpc>
                <a:spcPct val="100000"/>
              </a:lnSpc>
              <a:spcBef>
                <a:spcPts val="0"/>
              </a:spcBef>
              <a:spcAft>
                <a:spcPts val="0"/>
              </a:spcAft>
              <a:buClr>
                <a:schemeClr val="dk1"/>
              </a:buClr>
              <a:buSzPts val="1200"/>
              <a:buFont typeface="Arial"/>
              <a:buAutoNum type="arabicPeriod"/>
            </a:pPr>
            <a:r>
              <a:rPr lang="en-US" sz="1200" b="0" i="0" strike="noStrike" cap="none" dirty="0">
                <a:solidFill>
                  <a:schemeClr val="dk1"/>
                </a:solidFill>
                <a:ea typeface="Arial"/>
                <a:cs typeface="Arial"/>
                <a:sym typeface="Arial"/>
              </a:rPr>
              <a:t>Select key goals and KPIs from </a:t>
            </a:r>
            <a:r>
              <a:rPr lang="en-US" sz="1200" b="0" i="0" strike="noStrike" cap="none" dirty="0">
                <a:solidFill>
                  <a:schemeClr val="hlink"/>
                </a:solidFill>
                <a:ea typeface="Arial"/>
                <a:cs typeface="Arial"/>
                <a:sym typeface="Arial"/>
                <a:hlinkClick r:id="rId7" action="ppaction://hlinksldjump"/>
              </a:rPr>
              <a:t>Slide 5</a:t>
            </a:r>
            <a:r>
              <a:rPr lang="en-US" sz="1200" b="0" i="0" strike="noStrike" cap="none" dirty="0">
                <a:solidFill>
                  <a:schemeClr val="hlink"/>
                </a:solidFill>
                <a:ea typeface="Arial"/>
                <a:cs typeface="Arial"/>
                <a:sym typeface="Arial"/>
              </a:rPr>
              <a:t> </a:t>
            </a:r>
            <a:r>
              <a:rPr lang="en-US" sz="1200" b="0" i="0" strike="noStrike" cap="none" dirty="0">
                <a:solidFill>
                  <a:schemeClr val="dk1"/>
                </a:solidFill>
                <a:ea typeface="Arial"/>
                <a:cs typeface="Arial"/>
                <a:sym typeface="Arial"/>
              </a:rPr>
              <a:t>that would allow </a:t>
            </a:r>
            <a:r>
              <a:rPr lang="en-US" sz="1200" b="0" i="0" u="none" strike="noStrike" cap="none" dirty="0">
                <a:solidFill>
                  <a:schemeClr val="dk1"/>
                </a:solidFill>
                <a:ea typeface="Arial"/>
                <a:cs typeface="Arial"/>
                <a:sym typeface="Arial"/>
              </a:rPr>
              <a:t>you to measure progress against your culture values.</a:t>
            </a:r>
            <a:endParaRPr sz="1200" b="0" i="0" u="none" strike="noStrike" cap="none" dirty="0">
              <a:solidFill>
                <a:schemeClr val="dk1"/>
              </a:solidFill>
              <a:ea typeface="Arial"/>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3389795" y="2787180"/>
            <a:ext cx="2844318" cy="1269002"/>
          </a:xfrm>
          <a:prstGeom prst="rect">
            <a:avLst/>
          </a:prstGeom>
          <a:ln w="19050">
            <a:noFill/>
          </a:ln>
        </p:spPr>
        <p:txBody>
          <a:bodyPr vert="horz" wrap="square" lIns="0" tIns="0" rIns="0" bIns="0" rtlCol="0">
            <a:spAutoFit/>
          </a:bodyPr>
          <a:lstStyle/>
          <a:p>
            <a:pPr>
              <a:lnSpc>
                <a:spcPct val="100000"/>
              </a:lnSpc>
            </a:pPr>
            <a:endParaRPr sz="900" dirty="0">
              <a:cs typeface="Times New Roman"/>
            </a:endParaRPr>
          </a:p>
          <a:p>
            <a:pPr>
              <a:lnSpc>
                <a:spcPct val="100000"/>
              </a:lnSpc>
              <a:spcBef>
                <a:spcPts val="735"/>
              </a:spcBef>
            </a:pPr>
            <a:endParaRPr sz="900" dirty="0">
              <a:cs typeface="Times New Roman"/>
            </a:endParaRPr>
          </a:p>
          <a:p>
            <a:pPr marL="193675">
              <a:lnSpc>
                <a:spcPct val="100000"/>
              </a:lnSpc>
            </a:pPr>
            <a:r>
              <a:rPr lang="en-US" sz="900" b="1" dirty="0">
                <a:solidFill>
                  <a:srgbClr val="00002A"/>
                </a:solidFill>
                <a:cs typeface="Lucida Sans Unicode"/>
              </a:rPr>
              <a:t>Conference</a:t>
            </a:r>
            <a:endParaRPr sz="900" b="1" dirty="0">
              <a:cs typeface="Lucida Sans Unicode"/>
            </a:endParaRPr>
          </a:p>
          <a:p>
            <a:pPr marL="184785" marR="589280" indent="3810">
              <a:lnSpc>
                <a:spcPct val="111100"/>
              </a:lnSpc>
              <a:spcBef>
                <a:spcPts val="60"/>
              </a:spcBef>
            </a:pPr>
            <a:r>
              <a:rPr lang="en-US" sz="1200" dirty="0"/>
              <a:t>Gartner HR Symposium/</a:t>
            </a:r>
            <a:r>
              <a:rPr lang="en-US" sz="1200" dirty="0" err="1"/>
              <a:t>Xpo</a:t>
            </a:r>
            <a:r>
              <a:rPr lang="en-US" sz="1200" dirty="0"/>
              <a:t>™ Conference</a:t>
            </a:r>
            <a:endParaRPr sz="1200" dirty="0">
              <a:cs typeface="Lucida Sans Unicode"/>
            </a:endParaRPr>
          </a:p>
          <a:p>
            <a:pPr marL="188595" marR="218440" indent="635">
              <a:lnSpc>
                <a:spcPct val="101800"/>
              </a:lnSpc>
              <a:spcBef>
                <a:spcPts val="540"/>
              </a:spcBef>
            </a:pPr>
            <a:r>
              <a:rPr lang="en-US" sz="900" dirty="0"/>
              <a:t>Join us at The World’s Most Important Gathering of CHROs and HR Executives™.</a:t>
            </a:r>
            <a:endParaRPr sz="1000" dirty="0">
              <a:cs typeface="Lucida Sans Unicode"/>
            </a:endParaRPr>
          </a:p>
        </p:txBody>
      </p:sp>
      <p:sp>
        <p:nvSpPr>
          <p:cNvPr id="12" name="object 12"/>
          <p:cNvSpPr txBox="1"/>
          <p:nvPr/>
        </p:nvSpPr>
        <p:spPr>
          <a:xfrm>
            <a:off x="8896350" y="2787180"/>
            <a:ext cx="2654300" cy="1062214"/>
          </a:xfrm>
          <a:prstGeom prst="rect">
            <a:avLst/>
          </a:prstGeom>
          <a:ln w="19050">
            <a:noFill/>
          </a:ln>
        </p:spPr>
        <p:txBody>
          <a:bodyPr vert="horz" wrap="square" lIns="0" tIns="0" rIns="0" bIns="0" rtlCol="0">
            <a:spAutoFit/>
          </a:bodyPr>
          <a:lstStyle/>
          <a:p>
            <a:pPr>
              <a:lnSpc>
                <a:spcPct val="100000"/>
              </a:lnSpc>
            </a:pPr>
            <a:endParaRPr sz="900" dirty="0">
              <a:cs typeface="Times New Roman"/>
            </a:endParaRPr>
          </a:p>
          <a:p>
            <a:pPr>
              <a:lnSpc>
                <a:spcPct val="100000"/>
              </a:lnSpc>
              <a:spcBef>
                <a:spcPts val="735"/>
              </a:spcBef>
            </a:pPr>
            <a:endParaRPr sz="900" dirty="0">
              <a:cs typeface="Times New Roman"/>
            </a:endParaRPr>
          </a:p>
          <a:p>
            <a:pPr marL="183515">
              <a:lnSpc>
                <a:spcPct val="100000"/>
              </a:lnSpc>
            </a:pPr>
            <a:r>
              <a:rPr sz="900" b="1" dirty="0">
                <a:solidFill>
                  <a:srgbClr val="00002A"/>
                </a:solidFill>
                <a:cs typeface="Arial" panose="020B0604020202020204" pitchFamily="34" charset="0"/>
              </a:rPr>
              <a:t>Tool</a:t>
            </a:r>
            <a:endParaRPr sz="900" b="1" dirty="0">
              <a:cs typeface="Arial" panose="020B0604020202020204" pitchFamily="34" charset="0"/>
            </a:endParaRPr>
          </a:p>
          <a:p>
            <a:pPr marL="189230">
              <a:lnSpc>
                <a:spcPct val="100000"/>
              </a:lnSpc>
              <a:spcBef>
                <a:spcPts val="220"/>
              </a:spcBef>
            </a:pPr>
            <a:r>
              <a:rPr lang="en-US" sz="1200" dirty="0">
                <a:solidFill>
                  <a:srgbClr val="00002A"/>
                </a:solidFill>
                <a:cs typeface="Arial" panose="020B0604020202020204" pitchFamily="34" charset="0"/>
              </a:rPr>
              <a:t>Gartner </a:t>
            </a:r>
            <a:r>
              <a:rPr sz="1200" dirty="0">
                <a:solidFill>
                  <a:srgbClr val="00002A"/>
                </a:solidFill>
                <a:cs typeface="Arial" panose="020B0604020202020204" pitchFamily="34" charset="0"/>
              </a:rPr>
              <a:t>HR Score</a:t>
            </a:r>
            <a:endParaRPr sz="1200" dirty="0">
              <a:cs typeface="Arial" panose="020B0604020202020204" pitchFamily="34" charset="0"/>
            </a:endParaRPr>
          </a:p>
          <a:p>
            <a:pPr marL="188595" marR="491490" indent="4445">
              <a:lnSpc>
                <a:spcPct val="101800"/>
              </a:lnSpc>
              <a:spcBef>
                <a:spcPts val="540"/>
              </a:spcBef>
            </a:pPr>
            <a:r>
              <a:rPr sz="900" dirty="0">
                <a:solidFill>
                  <a:srgbClr val="00002A"/>
                </a:solidFill>
                <a:cs typeface="Arial" panose="020B0604020202020204" pitchFamily="34" charset="0"/>
              </a:rPr>
              <a:t>Measure the importance and maturity of critical HR activities.</a:t>
            </a:r>
            <a:endParaRPr sz="900" dirty="0">
              <a:cs typeface="Arial" panose="020B0604020202020204" pitchFamily="34" charset="0"/>
            </a:endParaRPr>
          </a:p>
        </p:txBody>
      </p:sp>
      <p:sp>
        <p:nvSpPr>
          <p:cNvPr id="15" name="object 15"/>
          <p:cNvSpPr txBox="1"/>
          <p:nvPr/>
        </p:nvSpPr>
        <p:spPr>
          <a:xfrm>
            <a:off x="6143078" y="2787180"/>
            <a:ext cx="2750448" cy="1415965"/>
          </a:xfrm>
          <a:prstGeom prst="rect">
            <a:avLst/>
          </a:prstGeom>
          <a:ln w="19050">
            <a:noFill/>
          </a:ln>
        </p:spPr>
        <p:txBody>
          <a:bodyPr vert="horz" wrap="square" lIns="0" tIns="0" rIns="0" bIns="0" rtlCol="0">
            <a:spAutoFit/>
          </a:bodyPr>
          <a:lstStyle/>
          <a:p>
            <a:pPr>
              <a:lnSpc>
                <a:spcPct val="100000"/>
              </a:lnSpc>
            </a:pPr>
            <a:endParaRPr sz="900" dirty="0">
              <a:cs typeface="Times New Roman"/>
            </a:endParaRPr>
          </a:p>
          <a:p>
            <a:pPr>
              <a:lnSpc>
                <a:spcPct val="100000"/>
              </a:lnSpc>
              <a:spcBef>
                <a:spcPts val="735"/>
              </a:spcBef>
            </a:pPr>
            <a:endParaRPr sz="900" dirty="0">
              <a:cs typeface="Times New Roman"/>
            </a:endParaRPr>
          </a:p>
          <a:p>
            <a:pPr marL="189865">
              <a:lnSpc>
                <a:spcPct val="100000"/>
              </a:lnSpc>
            </a:pPr>
            <a:r>
              <a:rPr sz="900" b="1" dirty="0">
                <a:solidFill>
                  <a:srgbClr val="00002A"/>
                </a:solidFill>
                <a:cs typeface="Lucida Sans Unicode"/>
              </a:rPr>
              <a:t>Client </a:t>
            </a:r>
            <a:r>
              <a:rPr lang="en-US" sz="900" b="1" dirty="0">
                <a:solidFill>
                  <a:srgbClr val="00002A"/>
                </a:solidFill>
                <a:cs typeface="Lucida Sans Unicode"/>
              </a:rPr>
              <a:t>S</a:t>
            </a:r>
            <a:r>
              <a:rPr sz="900" b="1" dirty="0">
                <a:solidFill>
                  <a:srgbClr val="00002A"/>
                </a:solidFill>
                <a:cs typeface="Lucida Sans Unicode"/>
              </a:rPr>
              <a:t>tory</a:t>
            </a:r>
            <a:endParaRPr sz="900" b="1" dirty="0">
              <a:cs typeface="Lucida Sans Unicode"/>
            </a:endParaRPr>
          </a:p>
          <a:p>
            <a:pPr marL="189230" marR="187960">
              <a:lnSpc>
                <a:spcPct val="111100"/>
              </a:lnSpc>
              <a:spcBef>
                <a:spcPts val="60"/>
              </a:spcBef>
            </a:pPr>
            <a:r>
              <a:rPr sz="1200" dirty="0">
                <a:solidFill>
                  <a:srgbClr val="00002A"/>
                </a:solidFill>
                <a:cs typeface="Lucida Sans Unicode"/>
              </a:rPr>
              <a:t>Building Culture and People Development Amid Rapid Growth</a:t>
            </a:r>
            <a:endParaRPr sz="1200" dirty="0">
              <a:cs typeface="Lucida Sans Unicode"/>
            </a:endParaRPr>
          </a:p>
          <a:p>
            <a:pPr marL="192405" marR="368300" indent="1270">
              <a:lnSpc>
                <a:spcPct val="101800"/>
              </a:lnSpc>
              <a:spcBef>
                <a:spcPts val="540"/>
              </a:spcBef>
            </a:pPr>
            <a:r>
              <a:rPr sz="900" dirty="0">
                <a:solidFill>
                  <a:srgbClr val="00002A"/>
                </a:solidFill>
                <a:cs typeface="Lucida Sans Unicode"/>
              </a:rPr>
              <a:t>Hear how Coca-Cola Bottling Company United leveraged Gartner to evolve their culture.</a:t>
            </a:r>
            <a:endParaRPr sz="900" dirty="0">
              <a:cs typeface="Lucida Sans Unicode"/>
            </a:endParaRPr>
          </a:p>
        </p:txBody>
      </p:sp>
      <p:sp>
        <p:nvSpPr>
          <p:cNvPr id="2" name="object 2"/>
          <p:cNvSpPr txBox="1"/>
          <p:nvPr/>
        </p:nvSpPr>
        <p:spPr>
          <a:xfrm>
            <a:off x="626424" y="1945640"/>
            <a:ext cx="5336226" cy="497444"/>
          </a:xfrm>
          <a:prstGeom prst="rect">
            <a:avLst/>
          </a:prstGeom>
        </p:spPr>
        <p:txBody>
          <a:bodyPr vert="horz" wrap="square" lIns="0" tIns="2540" rIns="0" bIns="0" rtlCol="0">
            <a:spAutoFit/>
          </a:bodyPr>
          <a:lstStyle/>
          <a:p>
            <a:pPr marL="12700" marR="5080" indent="-635">
              <a:lnSpc>
                <a:spcPct val="104200"/>
              </a:lnSpc>
              <a:spcBef>
                <a:spcPts val="20"/>
              </a:spcBef>
            </a:pPr>
            <a:r>
              <a:rPr sz="1600" dirty="0">
                <a:solidFill>
                  <a:srgbClr val="00002A"/>
                </a:solidFill>
                <a:cs typeface="Lucida Sans Unicode"/>
              </a:rPr>
              <a:t>Position your organization for success. Explore these additional complimentary resources and tools.</a:t>
            </a:r>
            <a:endParaRPr sz="1600" dirty="0">
              <a:cs typeface="Lucida Sans Unicode"/>
            </a:endParaRPr>
          </a:p>
        </p:txBody>
      </p:sp>
      <p:sp>
        <p:nvSpPr>
          <p:cNvPr id="3" name="object 3" descr="$PPTXTitle"/>
          <p:cNvSpPr txBox="1">
            <a:spLocks noGrp="1"/>
          </p:cNvSpPr>
          <p:nvPr>
            <p:ph type="title"/>
          </p:nvPr>
        </p:nvSpPr>
        <p:spPr>
          <a:xfrm>
            <a:off x="620776" y="1244600"/>
            <a:ext cx="7035947" cy="482600"/>
          </a:xfrm>
          <a:prstGeom prst="rect">
            <a:avLst/>
          </a:prstGeom>
        </p:spPr>
        <p:txBody>
          <a:bodyPr vert="horz" wrap="square" lIns="0" tIns="12700" rIns="0" bIns="0" rtlCol="0">
            <a:spAutoFit/>
          </a:bodyPr>
          <a:lstStyle/>
          <a:p>
            <a:pPr marL="12700">
              <a:lnSpc>
                <a:spcPct val="100000"/>
              </a:lnSpc>
              <a:spcBef>
                <a:spcPts val="100"/>
              </a:spcBef>
            </a:pPr>
            <a:r>
              <a:rPr sz="3000" spc="-55" dirty="0">
                <a:solidFill>
                  <a:srgbClr val="00236B"/>
                </a:solidFill>
              </a:rPr>
              <a:t>Actionable,</a:t>
            </a:r>
            <a:r>
              <a:rPr sz="3000" spc="-275" dirty="0">
                <a:solidFill>
                  <a:srgbClr val="00236B"/>
                </a:solidFill>
              </a:rPr>
              <a:t> </a:t>
            </a:r>
            <a:r>
              <a:rPr sz="3000" spc="-10" dirty="0">
                <a:solidFill>
                  <a:srgbClr val="00236B"/>
                </a:solidFill>
              </a:rPr>
              <a:t>objective</a:t>
            </a:r>
            <a:r>
              <a:rPr sz="3000" spc="-270" dirty="0">
                <a:solidFill>
                  <a:srgbClr val="00236B"/>
                </a:solidFill>
              </a:rPr>
              <a:t> </a:t>
            </a:r>
            <a:r>
              <a:rPr sz="3000" spc="-50" dirty="0">
                <a:solidFill>
                  <a:srgbClr val="00236B"/>
                </a:solidFill>
              </a:rPr>
              <a:t>insights</a:t>
            </a:r>
            <a:endParaRPr sz="3000" dirty="0"/>
          </a:p>
        </p:txBody>
      </p:sp>
      <p:sp>
        <p:nvSpPr>
          <p:cNvPr id="7" name="object 7">
            <a:hlinkClick r:id="rId2"/>
          </p:cNvPr>
          <p:cNvSpPr txBox="1"/>
          <p:nvPr/>
        </p:nvSpPr>
        <p:spPr>
          <a:xfrm>
            <a:off x="623823" y="5778500"/>
            <a:ext cx="6536690" cy="228268"/>
          </a:xfrm>
          <a:prstGeom prst="rect">
            <a:avLst/>
          </a:prstGeom>
        </p:spPr>
        <p:txBody>
          <a:bodyPr vert="horz" wrap="square" lIns="0" tIns="12700" rIns="0" bIns="0" rtlCol="0">
            <a:spAutoFit/>
          </a:bodyPr>
          <a:lstStyle/>
          <a:p>
            <a:pPr marL="12700">
              <a:lnSpc>
                <a:spcPct val="100000"/>
              </a:lnSpc>
              <a:spcBef>
                <a:spcPts val="100"/>
              </a:spcBef>
            </a:pPr>
            <a:r>
              <a:rPr sz="1400" dirty="0">
                <a:solidFill>
                  <a:srgbClr val="00236B"/>
                </a:solidFill>
                <a:cs typeface="Lucida Sans Unicode"/>
              </a:rPr>
              <a:t>Already a client? Get access to even more resources in your client porta</a:t>
            </a:r>
            <a:r>
              <a:rPr lang="en-US" sz="1400" dirty="0">
                <a:solidFill>
                  <a:srgbClr val="00236B"/>
                </a:solidFill>
                <a:cs typeface="Lucida Sans Unicode"/>
              </a:rPr>
              <a:t>l. </a:t>
            </a:r>
            <a:r>
              <a:rPr sz="1400" dirty="0">
                <a:solidFill>
                  <a:srgbClr val="006ACB"/>
                </a:solidFill>
                <a:cs typeface="Lucida Sans Unicode"/>
              </a:rPr>
              <a:t>Log In</a:t>
            </a:r>
            <a:endParaRPr sz="1400" dirty="0">
              <a:cs typeface="Lucida Sans Unicode"/>
            </a:endParaRPr>
          </a:p>
        </p:txBody>
      </p:sp>
      <p:sp>
        <p:nvSpPr>
          <p:cNvPr id="9" name="object 9"/>
          <p:cNvSpPr txBox="1"/>
          <p:nvPr/>
        </p:nvSpPr>
        <p:spPr>
          <a:xfrm>
            <a:off x="636523" y="2787180"/>
            <a:ext cx="2750448" cy="1188339"/>
          </a:xfrm>
          <a:prstGeom prst="rect">
            <a:avLst/>
          </a:prstGeom>
          <a:ln w="19050">
            <a:noFill/>
          </a:ln>
        </p:spPr>
        <p:txBody>
          <a:bodyPr vert="horz" wrap="square" lIns="0" tIns="0" rIns="0" bIns="0" rtlCol="0">
            <a:spAutoFit/>
          </a:bodyPr>
          <a:lstStyle/>
          <a:p>
            <a:pPr>
              <a:lnSpc>
                <a:spcPct val="100000"/>
              </a:lnSpc>
            </a:pPr>
            <a:endParaRPr sz="900" dirty="0">
              <a:cs typeface="Times New Roman"/>
            </a:endParaRPr>
          </a:p>
          <a:p>
            <a:pPr>
              <a:lnSpc>
                <a:spcPct val="100000"/>
              </a:lnSpc>
              <a:spcBef>
                <a:spcPts val="735"/>
              </a:spcBef>
            </a:pPr>
            <a:endParaRPr sz="900" dirty="0">
              <a:cs typeface="Times New Roman"/>
            </a:endParaRPr>
          </a:p>
          <a:p>
            <a:pPr marL="191135">
              <a:lnSpc>
                <a:spcPct val="100000"/>
              </a:lnSpc>
            </a:pPr>
            <a:r>
              <a:rPr lang="en-US" sz="900" b="1" dirty="0">
                <a:solidFill>
                  <a:srgbClr val="00002A"/>
                </a:solidFill>
                <a:cs typeface="Lucida Sans Unicode"/>
              </a:rPr>
              <a:t>Insights</a:t>
            </a:r>
            <a:endParaRPr sz="900" b="1" dirty="0">
              <a:cs typeface="Lucida Sans Unicode"/>
            </a:endParaRPr>
          </a:p>
          <a:p>
            <a:pPr marL="189230" marR="590550" indent="-20955">
              <a:lnSpc>
                <a:spcPct val="111100"/>
              </a:lnSpc>
              <a:spcBef>
                <a:spcPts val="60"/>
              </a:spcBef>
            </a:pPr>
            <a:r>
              <a:rPr lang="en-US" sz="1200" dirty="0"/>
              <a:t>Top CHRO Priorities for 2026</a:t>
            </a:r>
          </a:p>
          <a:p>
            <a:pPr marL="189230" marR="590550" indent="-20955">
              <a:lnSpc>
                <a:spcPct val="111100"/>
              </a:lnSpc>
              <a:spcBef>
                <a:spcPts val="60"/>
              </a:spcBef>
            </a:pPr>
            <a:r>
              <a:rPr lang="en-US" sz="900" dirty="0"/>
              <a:t>Explore emerging CHRO priorities, HR trends and action steps to drive business impact.</a:t>
            </a:r>
            <a:endParaRPr lang="en-US" sz="300" dirty="0">
              <a:cs typeface="Lucida Sans Unicode"/>
            </a:endParaRPr>
          </a:p>
        </p:txBody>
      </p:sp>
      <p:sp>
        <p:nvSpPr>
          <p:cNvPr id="13" name="object 13">
            <a:hlinkClick r:id="rId3"/>
          </p:cNvPr>
          <p:cNvSpPr/>
          <p:nvPr/>
        </p:nvSpPr>
        <p:spPr>
          <a:xfrm>
            <a:off x="11100403" y="2963589"/>
            <a:ext cx="317500" cy="317500"/>
          </a:xfrm>
          <a:custGeom>
            <a:avLst/>
            <a:gdLst/>
            <a:ahLst/>
            <a:cxnLst/>
            <a:rect l="l" t="t" r="r" b="b"/>
            <a:pathLst>
              <a:path w="317500" h="317500">
                <a:moveTo>
                  <a:pt x="136182" y="163131"/>
                </a:moveTo>
                <a:lnTo>
                  <a:pt x="100279" y="163131"/>
                </a:lnTo>
                <a:lnTo>
                  <a:pt x="254038" y="316903"/>
                </a:lnTo>
                <a:lnTo>
                  <a:pt x="289953" y="280987"/>
                </a:lnTo>
                <a:lnTo>
                  <a:pt x="254038" y="280987"/>
                </a:lnTo>
                <a:lnTo>
                  <a:pt x="136182" y="163131"/>
                </a:lnTo>
                <a:close/>
              </a:path>
              <a:path w="317500" h="317500">
                <a:moveTo>
                  <a:pt x="141741" y="25399"/>
                </a:moveTo>
                <a:lnTo>
                  <a:pt x="82550" y="25400"/>
                </a:lnTo>
                <a:lnTo>
                  <a:pt x="104772" y="29896"/>
                </a:lnTo>
                <a:lnTo>
                  <a:pt x="122940" y="42154"/>
                </a:lnTo>
                <a:lnTo>
                  <a:pt x="135201" y="60322"/>
                </a:lnTo>
                <a:lnTo>
                  <a:pt x="139700" y="82550"/>
                </a:lnTo>
                <a:lnTo>
                  <a:pt x="139700" y="86563"/>
                </a:lnTo>
                <a:lnTo>
                  <a:pt x="139242" y="90703"/>
                </a:lnTo>
                <a:lnTo>
                  <a:pt x="135356" y="108407"/>
                </a:lnTo>
                <a:lnTo>
                  <a:pt x="280974" y="254038"/>
                </a:lnTo>
                <a:lnTo>
                  <a:pt x="254038" y="280987"/>
                </a:lnTo>
                <a:lnTo>
                  <a:pt x="289953" y="280987"/>
                </a:lnTo>
                <a:lnTo>
                  <a:pt x="316903" y="254038"/>
                </a:lnTo>
                <a:lnTo>
                  <a:pt x="163144" y="100279"/>
                </a:lnTo>
                <a:lnTo>
                  <a:pt x="164401" y="94564"/>
                </a:lnTo>
                <a:lnTo>
                  <a:pt x="165100" y="88633"/>
                </a:lnTo>
                <a:lnTo>
                  <a:pt x="165100" y="82550"/>
                </a:lnTo>
                <a:lnTo>
                  <a:pt x="158611" y="50417"/>
                </a:lnTo>
                <a:lnTo>
                  <a:pt x="141844" y="25552"/>
                </a:lnTo>
                <a:lnTo>
                  <a:pt x="141741" y="25399"/>
                </a:lnTo>
                <a:close/>
              </a:path>
              <a:path w="317500" h="317500">
                <a:moveTo>
                  <a:pt x="17868" y="31343"/>
                </a:moveTo>
                <a:lnTo>
                  <a:pt x="10372" y="42564"/>
                </a:lnTo>
                <a:lnTo>
                  <a:pt x="4752" y="54970"/>
                </a:lnTo>
                <a:lnTo>
                  <a:pt x="1223" y="68364"/>
                </a:lnTo>
                <a:lnTo>
                  <a:pt x="0" y="82550"/>
                </a:lnTo>
                <a:lnTo>
                  <a:pt x="6397" y="114239"/>
                </a:lnTo>
                <a:lnTo>
                  <a:pt x="6486" y="114682"/>
                </a:lnTo>
                <a:lnTo>
                  <a:pt x="24177" y="140922"/>
                </a:lnTo>
                <a:lnTo>
                  <a:pt x="50417" y="158613"/>
                </a:lnTo>
                <a:lnTo>
                  <a:pt x="82550" y="165100"/>
                </a:lnTo>
                <a:lnTo>
                  <a:pt x="88633" y="165100"/>
                </a:lnTo>
                <a:lnTo>
                  <a:pt x="94564" y="164401"/>
                </a:lnTo>
                <a:lnTo>
                  <a:pt x="100279" y="163131"/>
                </a:lnTo>
                <a:lnTo>
                  <a:pt x="136182" y="163131"/>
                </a:lnTo>
                <a:lnTo>
                  <a:pt x="112750" y="139700"/>
                </a:lnTo>
                <a:lnTo>
                  <a:pt x="82550" y="139700"/>
                </a:lnTo>
                <a:lnTo>
                  <a:pt x="71313" y="138600"/>
                </a:lnTo>
                <a:lnTo>
                  <a:pt x="34969" y="114239"/>
                </a:lnTo>
                <a:lnTo>
                  <a:pt x="25400" y="82550"/>
                </a:lnTo>
                <a:lnTo>
                  <a:pt x="25400" y="80086"/>
                </a:lnTo>
                <a:lnTo>
                  <a:pt x="25552" y="77660"/>
                </a:lnTo>
                <a:lnTo>
                  <a:pt x="25786" y="75819"/>
                </a:lnTo>
                <a:lnTo>
                  <a:pt x="25857" y="75260"/>
                </a:lnTo>
                <a:lnTo>
                  <a:pt x="61785" y="75260"/>
                </a:lnTo>
                <a:lnTo>
                  <a:pt x="17868" y="31343"/>
                </a:lnTo>
                <a:close/>
              </a:path>
              <a:path w="317500" h="317500">
                <a:moveTo>
                  <a:pt x="108424" y="135374"/>
                </a:moveTo>
                <a:lnTo>
                  <a:pt x="90690" y="139242"/>
                </a:lnTo>
                <a:lnTo>
                  <a:pt x="86563" y="139700"/>
                </a:lnTo>
                <a:lnTo>
                  <a:pt x="112750" y="139700"/>
                </a:lnTo>
                <a:lnTo>
                  <a:pt x="108424" y="135374"/>
                </a:lnTo>
                <a:close/>
              </a:path>
              <a:path w="317500" h="317500">
                <a:moveTo>
                  <a:pt x="61785" y="75260"/>
                </a:moveTo>
                <a:lnTo>
                  <a:pt x="25857" y="75260"/>
                </a:lnTo>
                <a:lnTo>
                  <a:pt x="62344" y="111734"/>
                </a:lnTo>
                <a:lnTo>
                  <a:pt x="98259" y="75819"/>
                </a:lnTo>
                <a:lnTo>
                  <a:pt x="62344" y="75819"/>
                </a:lnTo>
                <a:lnTo>
                  <a:pt x="61785" y="75260"/>
                </a:lnTo>
                <a:close/>
              </a:path>
              <a:path w="317500" h="317500">
                <a:moveTo>
                  <a:pt x="82550" y="0"/>
                </a:moveTo>
                <a:lnTo>
                  <a:pt x="68358" y="1224"/>
                </a:lnTo>
                <a:lnTo>
                  <a:pt x="54965" y="4754"/>
                </a:lnTo>
                <a:lnTo>
                  <a:pt x="42562" y="10378"/>
                </a:lnTo>
                <a:lnTo>
                  <a:pt x="31343" y="17881"/>
                </a:lnTo>
                <a:lnTo>
                  <a:pt x="75806" y="62344"/>
                </a:lnTo>
                <a:lnTo>
                  <a:pt x="62344" y="75819"/>
                </a:lnTo>
                <a:lnTo>
                  <a:pt x="98259" y="75819"/>
                </a:lnTo>
                <a:lnTo>
                  <a:pt x="111734" y="62344"/>
                </a:lnTo>
                <a:lnTo>
                  <a:pt x="75260" y="25857"/>
                </a:lnTo>
                <a:lnTo>
                  <a:pt x="77660" y="25552"/>
                </a:lnTo>
                <a:lnTo>
                  <a:pt x="80086" y="25400"/>
                </a:lnTo>
                <a:lnTo>
                  <a:pt x="141741" y="25399"/>
                </a:lnTo>
                <a:lnTo>
                  <a:pt x="140917" y="24177"/>
                </a:lnTo>
                <a:lnTo>
                  <a:pt x="114677" y="6486"/>
                </a:lnTo>
                <a:lnTo>
                  <a:pt x="82550" y="0"/>
                </a:lnTo>
                <a:close/>
              </a:path>
            </a:pathLst>
          </a:custGeom>
          <a:solidFill>
            <a:srgbClr val="0056B3"/>
          </a:solidFill>
        </p:spPr>
        <p:txBody>
          <a:bodyPr wrap="square" lIns="0" tIns="0" rIns="0" bIns="0" rtlCol="0"/>
          <a:lstStyle/>
          <a:p>
            <a:endParaRPr/>
          </a:p>
        </p:txBody>
      </p:sp>
      <p:sp>
        <p:nvSpPr>
          <p:cNvPr id="14" name="object 14">
            <a:hlinkClick r:id="rId4"/>
          </p:cNvPr>
          <p:cNvSpPr/>
          <p:nvPr/>
        </p:nvSpPr>
        <p:spPr>
          <a:xfrm>
            <a:off x="6331788" y="4457700"/>
            <a:ext cx="1195705" cy="393700"/>
          </a:xfrm>
          <a:custGeom>
            <a:avLst/>
            <a:gdLst/>
            <a:ahLst/>
            <a:cxnLst/>
            <a:rect l="l" t="t" r="r" b="b"/>
            <a:pathLst>
              <a:path w="1195704" h="393700">
                <a:moveTo>
                  <a:pt x="1144473" y="0"/>
                </a:moveTo>
                <a:lnTo>
                  <a:pt x="50800" y="0"/>
                </a:lnTo>
                <a:lnTo>
                  <a:pt x="31027" y="3992"/>
                </a:lnTo>
                <a:lnTo>
                  <a:pt x="14879" y="14879"/>
                </a:lnTo>
                <a:lnTo>
                  <a:pt x="3992" y="31027"/>
                </a:lnTo>
                <a:lnTo>
                  <a:pt x="0" y="50800"/>
                </a:lnTo>
                <a:lnTo>
                  <a:pt x="0" y="342900"/>
                </a:lnTo>
                <a:lnTo>
                  <a:pt x="3992" y="362672"/>
                </a:lnTo>
                <a:lnTo>
                  <a:pt x="14879" y="378820"/>
                </a:lnTo>
                <a:lnTo>
                  <a:pt x="31027" y="389707"/>
                </a:lnTo>
                <a:lnTo>
                  <a:pt x="50800" y="393700"/>
                </a:lnTo>
                <a:lnTo>
                  <a:pt x="1144473" y="393700"/>
                </a:lnTo>
                <a:lnTo>
                  <a:pt x="1164246" y="389707"/>
                </a:lnTo>
                <a:lnTo>
                  <a:pt x="1180393" y="378820"/>
                </a:lnTo>
                <a:lnTo>
                  <a:pt x="1191280" y="362672"/>
                </a:lnTo>
                <a:lnTo>
                  <a:pt x="1195273" y="342900"/>
                </a:lnTo>
                <a:lnTo>
                  <a:pt x="1195273" y="50800"/>
                </a:lnTo>
                <a:lnTo>
                  <a:pt x="1191280" y="31027"/>
                </a:lnTo>
                <a:lnTo>
                  <a:pt x="1180393" y="14879"/>
                </a:lnTo>
                <a:lnTo>
                  <a:pt x="1164246" y="3992"/>
                </a:lnTo>
                <a:lnTo>
                  <a:pt x="1144473" y="0"/>
                </a:lnTo>
                <a:close/>
              </a:path>
            </a:pathLst>
          </a:custGeom>
          <a:solidFill>
            <a:srgbClr val="006ACB"/>
          </a:solidFill>
        </p:spPr>
        <p:txBody>
          <a:bodyPr wrap="square" lIns="0" tIns="0" rIns="0" bIns="0" rtlCol="0" anchor="ctr"/>
          <a:lstStyle/>
          <a:p>
            <a:pPr algn="ctr"/>
            <a:r>
              <a:rPr lang="en-US" sz="1200" b="1" dirty="0">
                <a:solidFill>
                  <a:schemeClr val="bg2"/>
                </a:solidFill>
                <a:latin typeface="Gartner Sans Semibold" panose="020B0504030402040204" pitchFamily="34" charset="77"/>
                <a:cs typeface="Lucida Sans Unicode"/>
              </a:rPr>
              <a:t>Watch</a:t>
            </a:r>
            <a:r>
              <a:rPr lang="en-US" sz="1200" b="1" spc="15" dirty="0">
                <a:solidFill>
                  <a:schemeClr val="bg2"/>
                </a:solidFill>
                <a:latin typeface="Gartner Sans Semibold" panose="020B0504030402040204" pitchFamily="34" charset="77"/>
                <a:cs typeface="Lucida Sans Unicode"/>
              </a:rPr>
              <a:t> </a:t>
            </a:r>
            <a:r>
              <a:rPr lang="en-US" sz="1200" b="1" spc="-25" dirty="0">
                <a:solidFill>
                  <a:schemeClr val="bg2"/>
                </a:solidFill>
                <a:latin typeface="Gartner Sans Semibold" panose="020B0504030402040204" pitchFamily="34" charset="77"/>
                <a:cs typeface="Lucida Sans Unicode"/>
              </a:rPr>
              <a:t>Now</a:t>
            </a:r>
            <a:endParaRPr lang="en-US" sz="1200" b="1" dirty="0">
              <a:solidFill>
                <a:schemeClr val="bg2"/>
              </a:solidFill>
              <a:latin typeface="Gartner Sans Semibold" panose="020B0504030402040204" pitchFamily="34" charset="77"/>
              <a:cs typeface="Lucida Sans Unicode"/>
            </a:endParaRPr>
          </a:p>
        </p:txBody>
      </p:sp>
      <p:sp>
        <p:nvSpPr>
          <p:cNvPr id="16" name="object 16">
            <a:hlinkClick r:id="rId4"/>
          </p:cNvPr>
          <p:cNvSpPr/>
          <p:nvPr/>
        </p:nvSpPr>
        <p:spPr>
          <a:xfrm>
            <a:off x="8336639" y="2945211"/>
            <a:ext cx="327025" cy="251460"/>
          </a:xfrm>
          <a:custGeom>
            <a:avLst/>
            <a:gdLst/>
            <a:ahLst/>
            <a:cxnLst/>
            <a:rect l="l" t="t" r="r" b="b"/>
            <a:pathLst>
              <a:path w="327025" h="251460">
                <a:moveTo>
                  <a:pt x="118364" y="0"/>
                </a:moveTo>
                <a:lnTo>
                  <a:pt x="0" y="0"/>
                </a:lnTo>
                <a:lnTo>
                  <a:pt x="0" y="251460"/>
                </a:lnTo>
                <a:lnTo>
                  <a:pt x="326898" y="251460"/>
                </a:lnTo>
                <a:lnTo>
                  <a:pt x="326898" y="226314"/>
                </a:lnTo>
                <a:lnTo>
                  <a:pt x="25146" y="226314"/>
                </a:lnTo>
                <a:lnTo>
                  <a:pt x="25146" y="75438"/>
                </a:lnTo>
                <a:lnTo>
                  <a:pt x="326898" y="75438"/>
                </a:lnTo>
                <a:lnTo>
                  <a:pt x="326898" y="50292"/>
                </a:lnTo>
                <a:lnTo>
                  <a:pt x="25146" y="50292"/>
                </a:lnTo>
                <a:lnTo>
                  <a:pt x="25146" y="25146"/>
                </a:lnTo>
                <a:lnTo>
                  <a:pt x="143510" y="25146"/>
                </a:lnTo>
                <a:lnTo>
                  <a:pt x="118364" y="0"/>
                </a:lnTo>
                <a:close/>
              </a:path>
              <a:path w="327025" h="251460">
                <a:moveTo>
                  <a:pt x="326898" y="75438"/>
                </a:moveTo>
                <a:lnTo>
                  <a:pt x="301752" y="75438"/>
                </a:lnTo>
                <a:lnTo>
                  <a:pt x="301752" y="226314"/>
                </a:lnTo>
                <a:lnTo>
                  <a:pt x="326898" y="226314"/>
                </a:lnTo>
                <a:lnTo>
                  <a:pt x="326898" y="75438"/>
                </a:lnTo>
                <a:close/>
              </a:path>
              <a:path w="327025" h="251460">
                <a:moveTo>
                  <a:pt x="143510" y="25146"/>
                </a:moveTo>
                <a:lnTo>
                  <a:pt x="107950" y="25146"/>
                </a:lnTo>
                <a:lnTo>
                  <a:pt x="133096" y="50292"/>
                </a:lnTo>
                <a:lnTo>
                  <a:pt x="168656" y="50292"/>
                </a:lnTo>
                <a:lnTo>
                  <a:pt x="143510" y="25146"/>
                </a:lnTo>
                <a:close/>
              </a:path>
            </a:pathLst>
          </a:custGeom>
          <a:solidFill>
            <a:srgbClr val="0056B3"/>
          </a:solidFill>
        </p:spPr>
        <p:txBody>
          <a:bodyPr wrap="square" lIns="0" tIns="0" rIns="0" bIns="0" rtlCol="0"/>
          <a:lstStyle/>
          <a:p>
            <a:endParaRPr/>
          </a:p>
        </p:txBody>
      </p:sp>
      <p:sp>
        <p:nvSpPr>
          <p:cNvPr id="21" name="object 14">
            <a:hlinkClick r:id="rId3"/>
            <a:extLst>
              <a:ext uri="{FF2B5EF4-FFF2-40B4-BE49-F238E27FC236}">
                <a16:creationId xmlns:a16="http://schemas.microsoft.com/office/drawing/2014/main" id="{006CB4F4-52D9-E4B9-7953-FC19AEDFF636}"/>
              </a:ext>
            </a:extLst>
          </p:cNvPr>
          <p:cNvSpPr/>
          <p:nvPr/>
        </p:nvSpPr>
        <p:spPr>
          <a:xfrm>
            <a:off x="9116587" y="4457700"/>
            <a:ext cx="1195705" cy="393700"/>
          </a:xfrm>
          <a:custGeom>
            <a:avLst/>
            <a:gdLst/>
            <a:ahLst/>
            <a:cxnLst/>
            <a:rect l="l" t="t" r="r" b="b"/>
            <a:pathLst>
              <a:path w="1195704" h="393700">
                <a:moveTo>
                  <a:pt x="1144473" y="0"/>
                </a:moveTo>
                <a:lnTo>
                  <a:pt x="50800" y="0"/>
                </a:lnTo>
                <a:lnTo>
                  <a:pt x="31027" y="3992"/>
                </a:lnTo>
                <a:lnTo>
                  <a:pt x="14879" y="14879"/>
                </a:lnTo>
                <a:lnTo>
                  <a:pt x="3992" y="31027"/>
                </a:lnTo>
                <a:lnTo>
                  <a:pt x="0" y="50800"/>
                </a:lnTo>
                <a:lnTo>
                  <a:pt x="0" y="342900"/>
                </a:lnTo>
                <a:lnTo>
                  <a:pt x="3992" y="362672"/>
                </a:lnTo>
                <a:lnTo>
                  <a:pt x="14879" y="378820"/>
                </a:lnTo>
                <a:lnTo>
                  <a:pt x="31027" y="389707"/>
                </a:lnTo>
                <a:lnTo>
                  <a:pt x="50800" y="393700"/>
                </a:lnTo>
                <a:lnTo>
                  <a:pt x="1144473" y="393700"/>
                </a:lnTo>
                <a:lnTo>
                  <a:pt x="1164246" y="389707"/>
                </a:lnTo>
                <a:lnTo>
                  <a:pt x="1180393" y="378820"/>
                </a:lnTo>
                <a:lnTo>
                  <a:pt x="1191280" y="362672"/>
                </a:lnTo>
                <a:lnTo>
                  <a:pt x="1195273" y="342900"/>
                </a:lnTo>
                <a:lnTo>
                  <a:pt x="1195273" y="50800"/>
                </a:lnTo>
                <a:lnTo>
                  <a:pt x="1191280" y="31027"/>
                </a:lnTo>
                <a:lnTo>
                  <a:pt x="1180393" y="14879"/>
                </a:lnTo>
                <a:lnTo>
                  <a:pt x="1164246" y="3992"/>
                </a:lnTo>
                <a:lnTo>
                  <a:pt x="1144473" y="0"/>
                </a:lnTo>
                <a:close/>
              </a:path>
            </a:pathLst>
          </a:custGeom>
          <a:solidFill>
            <a:srgbClr val="006ACB"/>
          </a:solidFill>
        </p:spPr>
        <p:txBody>
          <a:bodyPr wrap="square" lIns="0" tIns="0" rIns="0" bIns="0" rtlCol="0" anchor="ctr"/>
          <a:lstStyle/>
          <a:p>
            <a:pPr algn="ctr"/>
            <a:r>
              <a:rPr lang="en-US" sz="1200" b="1" dirty="0">
                <a:solidFill>
                  <a:schemeClr val="bg2"/>
                </a:solidFill>
                <a:latin typeface="Gartner Sans Semibold" panose="020B0504030402040204" pitchFamily="34" charset="77"/>
                <a:cs typeface="Lucida Sans Unicode"/>
              </a:rPr>
              <a:t>Learn More</a:t>
            </a:r>
          </a:p>
        </p:txBody>
      </p:sp>
      <p:sp>
        <p:nvSpPr>
          <p:cNvPr id="22" name="object 14">
            <a:hlinkClick r:id="rId5"/>
            <a:extLst>
              <a:ext uri="{FF2B5EF4-FFF2-40B4-BE49-F238E27FC236}">
                <a16:creationId xmlns:a16="http://schemas.microsoft.com/office/drawing/2014/main" id="{F3FC6EA4-0888-D78F-2FE8-3A258CF4EF9D}"/>
              </a:ext>
            </a:extLst>
          </p:cNvPr>
          <p:cNvSpPr/>
          <p:nvPr/>
        </p:nvSpPr>
        <p:spPr>
          <a:xfrm>
            <a:off x="3632655" y="4457700"/>
            <a:ext cx="1272065" cy="393700"/>
          </a:xfrm>
          <a:custGeom>
            <a:avLst/>
            <a:gdLst/>
            <a:ahLst/>
            <a:cxnLst/>
            <a:rect l="l" t="t" r="r" b="b"/>
            <a:pathLst>
              <a:path w="1195704" h="393700">
                <a:moveTo>
                  <a:pt x="1144473" y="0"/>
                </a:moveTo>
                <a:lnTo>
                  <a:pt x="50800" y="0"/>
                </a:lnTo>
                <a:lnTo>
                  <a:pt x="31027" y="3992"/>
                </a:lnTo>
                <a:lnTo>
                  <a:pt x="14879" y="14879"/>
                </a:lnTo>
                <a:lnTo>
                  <a:pt x="3992" y="31027"/>
                </a:lnTo>
                <a:lnTo>
                  <a:pt x="0" y="50800"/>
                </a:lnTo>
                <a:lnTo>
                  <a:pt x="0" y="342900"/>
                </a:lnTo>
                <a:lnTo>
                  <a:pt x="3992" y="362672"/>
                </a:lnTo>
                <a:lnTo>
                  <a:pt x="14879" y="378820"/>
                </a:lnTo>
                <a:lnTo>
                  <a:pt x="31027" y="389707"/>
                </a:lnTo>
                <a:lnTo>
                  <a:pt x="50800" y="393700"/>
                </a:lnTo>
                <a:lnTo>
                  <a:pt x="1144473" y="393700"/>
                </a:lnTo>
                <a:lnTo>
                  <a:pt x="1164246" y="389707"/>
                </a:lnTo>
                <a:lnTo>
                  <a:pt x="1180393" y="378820"/>
                </a:lnTo>
                <a:lnTo>
                  <a:pt x="1191280" y="362672"/>
                </a:lnTo>
                <a:lnTo>
                  <a:pt x="1195273" y="342900"/>
                </a:lnTo>
                <a:lnTo>
                  <a:pt x="1195273" y="50800"/>
                </a:lnTo>
                <a:lnTo>
                  <a:pt x="1191280" y="31027"/>
                </a:lnTo>
                <a:lnTo>
                  <a:pt x="1180393" y="14879"/>
                </a:lnTo>
                <a:lnTo>
                  <a:pt x="1164246" y="3992"/>
                </a:lnTo>
                <a:lnTo>
                  <a:pt x="1144473" y="0"/>
                </a:lnTo>
                <a:close/>
              </a:path>
            </a:pathLst>
          </a:custGeom>
          <a:solidFill>
            <a:srgbClr val="006ACB"/>
          </a:solidFill>
        </p:spPr>
        <p:txBody>
          <a:bodyPr wrap="square" lIns="0" tIns="0" rIns="0" bIns="0" rtlCol="0" anchor="ctr"/>
          <a:lstStyle/>
          <a:p>
            <a:pPr algn="ctr"/>
            <a:r>
              <a:rPr lang="en-US" sz="1200" b="1" dirty="0">
                <a:solidFill>
                  <a:schemeClr val="bg2"/>
                </a:solidFill>
                <a:latin typeface="Gartner Sans Semibold" panose="020B0504030402040204" pitchFamily="34" charset="77"/>
                <a:cs typeface="Lucida Sans Unicode"/>
              </a:rPr>
              <a:t>Learn More</a:t>
            </a:r>
          </a:p>
        </p:txBody>
      </p:sp>
      <p:sp>
        <p:nvSpPr>
          <p:cNvPr id="23" name="object 14">
            <a:hlinkClick r:id="rId6"/>
            <a:extLst>
              <a:ext uri="{FF2B5EF4-FFF2-40B4-BE49-F238E27FC236}">
                <a16:creationId xmlns:a16="http://schemas.microsoft.com/office/drawing/2014/main" id="{8283FDAC-0271-5D44-6E98-4CF25D9D9BA3}"/>
              </a:ext>
            </a:extLst>
          </p:cNvPr>
          <p:cNvSpPr/>
          <p:nvPr/>
        </p:nvSpPr>
        <p:spPr>
          <a:xfrm>
            <a:off x="834371" y="4457700"/>
            <a:ext cx="1315187" cy="393700"/>
          </a:xfrm>
          <a:custGeom>
            <a:avLst/>
            <a:gdLst/>
            <a:ahLst/>
            <a:cxnLst/>
            <a:rect l="l" t="t" r="r" b="b"/>
            <a:pathLst>
              <a:path w="1195704" h="393700">
                <a:moveTo>
                  <a:pt x="1144473" y="0"/>
                </a:moveTo>
                <a:lnTo>
                  <a:pt x="50800" y="0"/>
                </a:lnTo>
                <a:lnTo>
                  <a:pt x="31027" y="3992"/>
                </a:lnTo>
                <a:lnTo>
                  <a:pt x="14879" y="14879"/>
                </a:lnTo>
                <a:lnTo>
                  <a:pt x="3992" y="31027"/>
                </a:lnTo>
                <a:lnTo>
                  <a:pt x="0" y="50800"/>
                </a:lnTo>
                <a:lnTo>
                  <a:pt x="0" y="342900"/>
                </a:lnTo>
                <a:lnTo>
                  <a:pt x="3992" y="362672"/>
                </a:lnTo>
                <a:lnTo>
                  <a:pt x="14879" y="378820"/>
                </a:lnTo>
                <a:lnTo>
                  <a:pt x="31027" y="389707"/>
                </a:lnTo>
                <a:lnTo>
                  <a:pt x="50800" y="393700"/>
                </a:lnTo>
                <a:lnTo>
                  <a:pt x="1144473" y="393700"/>
                </a:lnTo>
                <a:lnTo>
                  <a:pt x="1164246" y="389707"/>
                </a:lnTo>
                <a:lnTo>
                  <a:pt x="1180393" y="378820"/>
                </a:lnTo>
                <a:lnTo>
                  <a:pt x="1191280" y="362672"/>
                </a:lnTo>
                <a:lnTo>
                  <a:pt x="1195273" y="342900"/>
                </a:lnTo>
                <a:lnTo>
                  <a:pt x="1195273" y="50800"/>
                </a:lnTo>
                <a:lnTo>
                  <a:pt x="1191280" y="31027"/>
                </a:lnTo>
                <a:lnTo>
                  <a:pt x="1180393" y="14879"/>
                </a:lnTo>
                <a:lnTo>
                  <a:pt x="1164246" y="3992"/>
                </a:lnTo>
                <a:lnTo>
                  <a:pt x="1144473" y="0"/>
                </a:lnTo>
                <a:close/>
              </a:path>
            </a:pathLst>
          </a:custGeom>
          <a:solidFill>
            <a:srgbClr val="006ACB"/>
          </a:solidFill>
        </p:spPr>
        <p:txBody>
          <a:bodyPr wrap="square" lIns="0" tIns="0" rIns="0" bIns="0" rtlCol="0" anchor="ctr"/>
          <a:lstStyle/>
          <a:p>
            <a:pPr algn="ctr"/>
            <a:r>
              <a:rPr lang="en-US" sz="1200" b="1" dirty="0">
                <a:solidFill>
                  <a:schemeClr val="bg2"/>
                </a:solidFill>
                <a:latin typeface="Gartner Sans Semibold" panose="020B0504030402040204" pitchFamily="34" charset="77"/>
                <a:cs typeface="Lucida Sans Unicode"/>
              </a:rPr>
              <a:t>Download Now</a:t>
            </a:r>
          </a:p>
        </p:txBody>
      </p:sp>
      <p:sp>
        <p:nvSpPr>
          <p:cNvPr id="24" name="Rectangle 23">
            <a:extLst>
              <a:ext uri="{FF2B5EF4-FFF2-40B4-BE49-F238E27FC236}">
                <a16:creationId xmlns:a16="http://schemas.microsoft.com/office/drawing/2014/main" id="{E02B3168-8FA1-2155-E04A-875DE02FE30C}"/>
              </a:ext>
            </a:extLst>
          </p:cNvPr>
          <p:cNvSpPr/>
          <p:nvPr/>
        </p:nvSpPr>
        <p:spPr>
          <a:xfrm>
            <a:off x="636523" y="2787180"/>
            <a:ext cx="2654300" cy="2439322"/>
          </a:xfrm>
          <a:prstGeom prst="rect">
            <a:avLst/>
          </a:prstGeom>
          <a:noFill/>
          <a:ln w="19050">
            <a:solidFill>
              <a:srgbClr val="B8DE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l"/>
            <a:endParaRPr lang="en-US" sz="2000" dirty="0">
              <a:solidFill>
                <a:schemeClr val="bg2"/>
              </a:solidFill>
            </a:endParaRPr>
          </a:p>
        </p:txBody>
      </p:sp>
      <p:sp>
        <p:nvSpPr>
          <p:cNvPr id="25" name="Rectangle 24">
            <a:extLst>
              <a:ext uri="{FF2B5EF4-FFF2-40B4-BE49-F238E27FC236}">
                <a16:creationId xmlns:a16="http://schemas.microsoft.com/office/drawing/2014/main" id="{0A5602D7-AF3D-C79F-6160-FB2FAC67D8B2}"/>
              </a:ext>
            </a:extLst>
          </p:cNvPr>
          <p:cNvSpPr/>
          <p:nvPr/>
        </p:nvSpPr>
        <p:spPr>
          <a:xfrm>
            <a:off x="3390740" y="2787180"/>
            <a:ext cx="2654300" cy="2439322"/>
          </a:xfrm>
          <a:prstGeom prst="rect">
            <a:avLst/>
          </a:prstGeom>
          <a:noFill/>
          <a:ln w="19050">
            <a:solidFill>
              <a:srgbClr val="B8DE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l"/>
            <a:endParaRPr lang="en-US" sz="2000" dirty="0">
              <a:solidFill>
                <a:schemeClr val="bg2"/>
              </a:solidFill>
            </a:endParaRPr>
          </a:p>
        </p:txBody>
      </p:sp>
      <p:sp>
        <p:nvSpPr>
          <p:cNvPr id="26" name="Rectangle 25">
            <a:extLst>
              <a:ext uri="{FF2B5EF4-FFF2-40B4-BE49-F238E27FC236}">
                <a16:creationId xmlns:a16="http://schemas.microsoft.com/office/drawing/2014/main" id="{3BC272CD-380E-C0D5-CE12-427A5AC07ACB}"/>
              </a:ext>
            </a:extLst>
          </p:cNvPr>
          <p:cNvSpPr/>
          <p:nvPr/>
        </p:nvSpPr>
        <p:spPr>
          <a:xfrm>
            <a:off x="6144957" y="2787180"/>
            <a:ext cx="2654300" cy="2439322"/>
          </a:xfrm>
          <a:prstGeom prst="rect">
            <a:avLst/>
          </a:prstGeom>
          <a:noFill/>
          <a:ln w="19050">
            <a:solidFill>
              <a:srgbClr val="B8DE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l"/>
            <a:endParaRPr lang="en-US" sz="2000" dirty="0">
              <a:solidFill>
                <a:schemeClr val="bg2"/>
              </a:solidFill>
            </a:endParaRPr>
          </a:p>
        </p:txBody>
      </p:sp>
      <p:sp>
        <p:nvSpPr>
          <p:cNvPr id="27" name="Rectangle 26">
            <a:extLst>
              <a:ext uri="{FF2B5EF4-FFF2-40B4-BE49-F238E27FC236}">
                <a16:creationId xmlns:a16="http://schemas.microsoft.com/office/drawing/2014/main" id="{C01604B2-3BCD-2D6F-7096-CE9998DC87B4}"/>
              </a:ext>
            </a:extLst>
          </p:cNvPr>
          <p:cNvSpPr/>
          <p:nvPr/>
        </p:nvSpPr>
        <p:spPr>
          <a:xfrm>
            <a:off x="8899174" y="2787180"/>
            <a:ext cx="2654300" cy="2439322"/>
          </a:xfrm>
          <a:prstGeom prst="rect">
            <a:avLst/>
          </a:prstGeom>
          <a:noFill/>
          <a:ln w="19050">
            <a:solidFill>
              <a:srgbClr val="B8DE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l"/>
            <a:endParaRPr lang="en-US" sz="2000" dirty="0">
              <a:solidFill>
                <a:schemeClr val="bg2"/>
              </a:solidFill>
            </a:endParaRPr>
          </a:p>
        </p:txBody>
      </p:sp>
      <p:pic>
        <p:nvPicPr>
          <p:cNvPr id="30" name="Graphic 29">
            <a:extLst>
              <a:ext uri="{FF2B5EF4-FFF2-40B4-BE49-F238E27FC236}">
                <a16:creationId xmlns:a16="http://schemas.microsoft.com/office/drawing/2014/main" id="{162FC8F5-E6FC-EEA6-DDB8-A8B631217210}"/>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6968725" y="5837034"/>
            <a:ext cx="126243" cy="126243"/>
          </a:xfrm>
          <a:prstGeom prst="rect">
            <a:avLst/>
          </a:prstGeom>
        </p:spPr>
      </p:pic>
      <p:pic>
        <p:nvPicPr>
          <p:cNvPr id="19" name="Graphic 18">
            <a:extLst>
              <a:ext uri="{FF2B5EF4-FFF2-40B4-BE49-F238E27FC236}">
                <a16:creationId xmlns:a16="http://schemas.microsoft.com/office/drawing/2014/main" id="{D46F93D6-6C08-8088-816F-A7EBA6274076}"/>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2825629" y="2900981"/>
            <a:ext cx="330377" cy="366093"/>
          </a:xfrm>
          <a:prstGeom prst="rect">
            <a:avLst/>
          </a:prstGeom>
        </p:spPr>
      </p:pic>
      <p:pic>
        <p:nvPicPr>
          <p:cNvPr id="20" name="Graphic 19">
            <a:extLst>
              <a:ext uri="{FF2B5EF4-FFF2-40B4-BE49-F238E27FC236}">
                <a16:creationId xmlns:a16="http://schemas.microsoft.com/office/drawing/2014/main" id="{F761DE52-D6CD-0349-FDA7-0798EBF07F6E}"/>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5576077" y="2914649"/>
            <a:ext cx="332519" cy="362748"/>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a:hlinkClick r:id="rId2"/>
          </p:cNvPr>
          <p:cNvSpPr txBox="1"/>
          <p:nvPr/>
        </p:nvSpPr>
        <p:spPr>
          <a:xfrm>
            <a:off x="8060087" y="2314968"/>
            <a:ext cx="3662561" cy="526491"/>
          </a:xfrm>
          <a:prstGeom prst="rect">
            <a:avLst/>
          </a:prstGeom>
        </p:spPr>
        <p:txBody>
          <a:bodyPr vert="horz" wrap="square" lIns="0" tIns="12700" rIns="0" bIns="0" rtlCol="0">
            <a:spAutoFit/>
          </a:bodyPr>
          <a:lstStyle/>
          <a:p>
            <a:pPr marL="12700" marR="5080">
              <a:lnSpc>
                <a:spcPct val="107200"/>
              </a:lnSpc>
              <a:spcBef>
                <a:spcPts val="100"/>
              </a:spcBef>
            </a:pPr>
            <a:r>
              <a:rPr sz="1600" dirty="0">
                <a:solidFill>
                  <a:srgbClr val="FFFFFF"/>
                </a:solidFill>
                <a:cs typeface="Lucida Sans Unicode"/>
              </a:rPr>
              <a:t>Learn more about Gartner for CHROs </a:t>
            </a:r>
            <a:r>
              <a:rPr sz="1600" b="1" dirty="0">
                <a:solidFill>
                  <a:srgbClr val="0097FF"/>
                </a:solidFill>
                <a:latin typeface="Gartner Sans Semibold" panose="020B0504030402040204" pitchFamily="34" charset="77"/>
                <a:cs typeface="Lucida Sans Unicode"/>
              </a:rPr>
              <a:t>gartner.com/en/human-resources</a:t>
            </a:r>
            <a:endParaRPr sz="1600" b="1" dirty="0">
              <a:latin typeface="Gartner Sans Semibold" panose="020B0504030402040204" pitchFamily="34" charset="77"/>
              <a:cs typeface="Lucida Sans Unicode"/>
            </a:endParaRPr>
          </a:p>
        </p:txBody>
      </p:sp>
      <p:sp>
        <p:nvSpPr>
          <p:cNvPr id="4" name="object 4">
            <a:hlinkClick r:id="rId3"/>
          </p:cNvPr>
          <p:cNvSpPr/>
          <p:nvPr/>
        </p:nvSpPr>
        <p:spPr>
          <a:xfrm>
            <a:off x="8068733" y="3358959"/>
            <a:ext cx="323850" cy="323850"/>
          </a:xfrm>
          <a:custGeom>
            <a:avLst/>
            <a:gdLst/>
            <a:ahLst/>
            <a:cxnLst/>
            <a:rect l="l" t="t" r="r" b="b"/>
            <a:pathLst>
              <a:path w="323850" h="323850">
                <a:moveTo>
                  <a:pt x="161925" y="0"/>
                </a:moveTo>
                <a:lnTo>
                  <a:pt x="118877" y="5783"/>
                </a:lnTo>
                <a:lnTo>
                  <a:pt x="80196" y="22106"/>
                </a:lnTo>
                <a:lnTo>
                  <a:pt x="47424" y="47424"/>
                </a:lnTo>
                <a:lnTo>
                  <a:pt x="22106" y="80196"/>
                </a:lnTo>
                <a:lnTo>
                  <a:pt x="5783" y="118877"/>
                </a:lnTo>
                <a:lnTo>
                  <a:pt x="42" y="161612"/>
                </a:lnTo>
                <a:lnTo>
                  <a:pt x="0" y="161925"/>
                </a:lnTo>
                <a:lnTo>
                  <a:pt x="5783" y="204972"/>
                </a:lnTo>
                <a:lnTo>
                  <a:pt x="22106" y="243653"/>
                </a:lnTo>
                <a:lnTo>
                  <a:pt x="47424" y="276425"/>
                </a:lnTo>
                <a:lnTo>
                  <a:pt x="80196" y="301743"/>
                </a:lnTo>
                <a:lnTo>
                  <a:pt x="118877" y="318066"/>
                </a:lnTo>
                <a:lnTo>
                  <a:pt x="161925" y="323850"/>
                </a:lnTo>
                <a:lnTo>
                  <a:pt x="204972" y="318066"/>
                </a:lnTo>
                <a:lnTo>
                  <a:pt x="226960" y="308787"/>
                </a:lnTo>
                <a:lnTo>
                  <a:pt x="161925" y="308787"/>
                </a:lnTo>
                <a:lnTo>
                  <a:pt x="115503" y="301301"/>
                </a:lnTo>
                <a:lnTo>
                  <a:pt x="75187" y="280453"/>
                </a:lnTo>
                <a:lnTo>
                  <a:pt x="43396" y="248662"/>
                </a:lnTo>
                <a:lnTo>
                  <a:pt x="22548" y="208346"/>
                </a:lnTo>
                <a:lnTo>
                  <a:pt x="15062" y="161925"/>
                </a:lnTo>
                <a:lnTo>
                  <a:pt x="22548" y="115503"/>
                </a:lnTo>
                <a:lnTo>
                  <a:pt x="43396" y="75187"/>
                </a:lnTo>
                <a:lnTo>
                  <a:pt x="75187" y="43396"/>
                </a:lnTo>
                <a:lnTo>
                  <a:pt x="115503" y="22548"/>
                </a:lnTo>
                <a:lnTo>
                  <a:pt x="161925" y="15062"/>
                </a:lnTo>
                <a:lnTo>
                  <a:pt x="226960" y="15062"/>
                </a:lnTo>
                <a:lnTo>
                  <a:pt x="204972" y="5783"/>
                </a:lnTo>
                <a:lnTo>
                  <a:pt x="161925" y="0"/>
                </a:lnTo>
                <a:close/>
              </a:path>
              <a:path w="323850" h="323850">
                <a:moveTo>
                  <a:pt x="226960" y="15062"/>
                </a:moveTo>
                <a:lnTo>
                  <a:pt x="161925" y="15062"/>
                </a:lnTo>
                <a:lnTo>
                  <a:pt x="208346" y="22548"/>
                </a:lnTo>
                <a:lnTo>
                  <a:pt x="248662" y="43396"/>
                </a:lnTo>
                <a:lnTo>
                  <a:pt x="280453" y="75187"/>
                </a:lnTo>
                <a:lnTo>
                  <a:pt x="301301" y="115503"/>
                </a:lnTo>
                <a:lnTo>
                  <a:pt x="308737" y="161612"/>
                </a:lnTo>
                <a:lnTo>
                  <a:pt x="308787" y="161925"/>
                </a:lnTo>
                <a:lnTo>
                  <a:pt x="301301" y="208346"/>
                </a:lnTo>
                <a:lnTo>
                  <a:pt x="280453" y="248662"/>
                </a:lnTo>
                <a:lnTo>
                  <a:pt x="248662" y="280453"/>
                </a:lnTo>
                <a:lnTo>
                  <a:pt x="208346" y="301301"/>
                </a:lnTo>
                <a:lnTo>
                  <a:pt x="161925" y="308787"/>
                </a:lnTo>
                <a:lnTo>
                  <a:pt x="226960" y="308787"/>
                </a:lnTo>
                <a:lnTo>
                  <a:pt x="276425" y="276425"/>
                </a:lnTo>
                <a:lnTo>
                  <a:pt x="301743" y="243653"/>
                </a:lnTo>
                <a:lnTo>
                  <a:pt x="318066" y="204972"/>
                </a:lnTo>
                <a:lnTo>
                  <a:pt x="323850" y="161925"/>
                </a:lnTo>
                <a:lnTo>
                  <a:pt x="318066" y="118877"/>
                </a:lnTo>
                <a:lnTo>
                  <a:pt x="301743" y="80196"/>
                </a:lnTo>
                <a:lnTo>
                  <a:pt x="276425" y="47424"/>
                </a:lnTo>
                <a:lnTo>
                  <a:pt x="243653" y="22106"/>
                </a:lnTo>
                <a:lnTo>
                  <a:pt x="226960" y="15062"/>
                </a:lnTo>
                <a:close/>
              </a:path>
              <a:path w="323850" h="323850">
                <a:moveTo>
                  <a:pt x="118656" y="130657"/>
                </a:moveTo>
                <a:lnTo>
                  <a:pt x="88226" y="130657"/>
                </a:lnTo>
                <a:lnTo>
                  <a:pt x="88226" y="228053"/>
                </a:lnTo>
                <a:lnTo>
                  <a:pt x="118656" y="228053"/>
                </a:lnTo>
                <a:lnTo>
                  <a:pt x="118656" y="130657"/>
                </a:lnTo>
                <a:close/>
              </a:path>
              <a:path w="323850" h="323850">
                <a:moveTo>
                  <a:pt x="171411" y="130657"/>
                </a:moveTo>
                <a:lnTo>
                  <a:pt x="137223" y="130657"/>
                </a:lnTo>
                <a:lnTo>
                  <a:pt x="137293" y="132367"/>
                </a:lnTo>
                <a:lnTo>
                  <a:pt x="137414" y="135315"/>
                </a:lnTo>
                <a:lnTo>
                  <a:pt x="137467" y="177660"/>
                </a:lnTo>
                <a:lnTo>
                  <a:pt x="137335" y="204972"/>
                </a:lnTo>
                <a:lnTo>
                  <a:pt x="137223" y="228053"/>
                </a:lnTo>
                <a:lnTo>
                  <a:pt x="171411" y="228053"/>
                </a:lnTo>
                <a:lnTo>
                  <a:pt x="171411" y="172402"/>
                </a:lnTo>
                <a:lnTo>
                  <a:pt x="171272" y="169481"/>
                </a:lnTo>
                <a:lnTo>
                  <a:pt x="172161" y="167386"/>
                </a:lnTo>
                <a:lnTo>
                  <a:pt x="174352" y="161925"/>
                </a:lnTo>
                <a:lnTo>
                  <a:pt x="174478" y="161612"/>
                </a:lnTo>
                <a:lnTo>
                  <a:pt x="179552" y="155460"/>
                </a:lnTo>
                <a:lnTo>
                  <a:pt x="237587" y="155460"/>
                </a:lnTo>
                <a:lnTo>
                  <a:pt x="237405" y="154265"/>
                </a:lnTo>
                <a:lnTo>
                  <a:pt x="232444" y="145935"/>
                </a:lnTo>
                <a:lnTo>
                  <a:pt x="171411" y="145935"/>
                </a:lnTo>
                <a:lnTo>
                  <a:pt x="171411" y="130657"/>
                </a:lnTo>
                <a:close/>
              </a:path>
              <a:path w="323850" h="323850">
                <a:moveTo>
                  <a:pt x="237587" y="155460"/>
                </a:moveTo>
                <a:lnTo>
                  <a:pt x="188633" y="155460"/>
                </a:lnTo>
                <a:lnTo>
                  <a:pt x="196339" y="157073"/>
                </a:lnTo>
                <a:lnTo>
                  <a:pt x="201715" y="161612"/>
                </a:lnTo>
                <a:lnTo>
                  <a:pt x="204865" y="168624"/>
                </a:lnTo>
                <a:lnTo>
                  <a:pt x="205892" y="177660"/>
                </a:lnTo>
                <a:lnTo>
                  <a:pt x="205892" y="228053"/>
                </a:lnTo>
                <a:lnTo>
                  <a:pt x="240398" y="228053"/>
                </a:lnTo>
                <a:lnTo>
                  <a:pt x="240398" y="173901"/>
                </a:lnTo>
                <a:lnTo>
                  <a:pt x="237587" y="155460"/>
                </a:lnTo>
                <a:close/>
              </a:path>
              <a:path w="323850" h="323850">
                <a:moveTo>
                  <a:pt x="201790" y="129705"/>
                </a:moveTo>
                <a:lnTo>
                  <a:pt x="189971" y="131301"/>
                </a:lnTo>
                <a:lnTo>
                  <a:pt x="180819" y="135315"/>
                </a:lnTo>
                <a:lnTo>
                  <a:pt x="174558" y="140581"/>
                </a:lnTo>
                <a:lnTo>
                  <a:pt x="171411" y="145935"/>
                </a:lnTo>
                <a:lnTo>
                  <a:pt x="232444" y="145935"/>
                </a:lnTo>
                <a:lnTo>
                  <a:pt x="229256" y="140581"/>
                </a:lnTo>
                <a:lnTo>
                  <a:pt x="216941" y="132367"/>
                </a:lnTo>
                <a:lnTo>
                  <a:pt x="201790" y="129705"/>
                </a:lnTo>
                <a:close/>
              </a:path>
              <a:path w="323850" h="323850">
                <a:moveTo>
                  <a:pt x="114096" y="84683"/>
                </a:moveTo>
                <a:lnTo>
                  <a:pt x="91643" y="84683"/>
                </a:lnTo>
                <a:lnTo>
                  <a:pt x="84289" y="91973"/>
                </a:lnTo>
                <a:lnTo>
                  <a:pt x="84289" y="111023"/>
                </a:lnTo>
                <a:lnTo>
                  <a:pt x="91427" y="118465"/>
                </a:lnTo>
                <a:lnTo>
                  <a:pt x="114096" y="118465"/>
                </a:lnTo>
                <a:lnTo>
                  <a:pt x="121197" y="111023"/>
                </a:lnTo>
                <a:lnTo>
                  <a:pt x="121221" y="101561"/>
                </a:lnTo>
                <a:lnTo>
                  <a:pt x="121006" y="91973"/>
                </a:lnTo>
                <a:lnTo>
                  <a:pt x="114096" y="84683"/>
                </a:lnTo>
                <a:close/>
              </a:path>
            </a:pathLst>
          </a:custGeom>
          <a:solidFill>
            <a:srgbClr val="0097FF"/>
          </a:solidFill>
        </p:spPr>
        <p:txBody>
          <a:bodyPr wrap="square" lIns="0" tIns="0" rIns="0" bIns="0" rtlCol="0"/>
          <a:lstStyle/>
          <a:p>
            <a:endParaRPr/>
          </a:p>
        </p:txBody>
      </p:sp>
      <p:grpSp>
        <p:nvGrpSpPr>
          <p:cNvPr id="5" name="object 5"/>
          <p:cNvGrpSpPr/>
          <p:nvPr/>
        </p:nvGrpSpPr>
        <p:grpSpPr>
          <a:xfrm>
            <a:off x="8512240" y="3356550"/>
            <a:ext cx="326390" cy="326390"/>
            <a:chOff x="8512240" y="3261300"/>
            <a:chExt cx="326390" cy="326390"/>
          </a:xfrm>
        </p:grpSpPr>
        <p:sp>
          <p:nvSpPr>
            <p:cNvPr id="6" name="object 6">
              <a:hlinkClick r:id="rId4"/>
            </p:cNvPr>
            <p:cNvSpPr/>
            <p:nvPr/>
          </p:nvSpPr>
          <p:spPr>
            <a:xfrm>
              <a:off x="8512240" y="3261300"/>
              <a:ext cx="326390" cy="326390"/>
            </a:xfrm>
            <a:custGeom>
              <a:avLst/>
              <a:gdLst/>
              <a:ahLst/>
              <a:cxnLst/>
              <a:rect l="l" t="t" r="r" b="b"/>
              <a:pathLst>
                <a:path w="326390" h="326389">
                  <a:moveTo>
                    <a:pt x="163131" y="0"/>
                  </a:moveTo>
                  <a:lnTo>
                    <a:pt x="119765" y="5827"/>
                  </a:lnTo>
                  <a:lnTo>
                    <a:pt x="80796" y="22272"/>
                  </a:lnTo>
                  <a:lnTo>
                    <a:pt x="47780" y="47780"/>
                  </a:lnTo>
                  <a:lnTo>
                    <a:pt x="22272" y="80796"/>
                  </a:lnTo>
                  <a:lnTo>
                    <a:pt x="5827" y="119765"/>
                  </a:lnTo>
                  <a:lnTo>
                    <a:pt x="0" y="163131"/>
                  </a:lnTo>
                  <a:lnTo>
                    <a:pt x="5827" y="206497"/>
                  </a:lnTo>
                  <a:lnTo>
                    <a:pt x="22272" y="245466"/>
                  </a:lnTo>
                  <a:lnTo>
                    <a:pt x="47780" y="278482"/>
                  </a:lnTo>
                  <a:lnTo>
                    <a:pt x="80796" y="303990"/>
                  </a:lnTo>
                  <a:lnTo>
                    <a:pt x="119765" y="320435"/>
                  </a:lnTo>
                  <a:lnTo>
                    <a:pt x="163131" y="326262"/>
                  </a:lnTo>
                  <a:lnTo>
                    <a:pt x="206497" y="320435"/>
                  </a:lnTo>
                  <a:lnTo>
                    <a:pt x="229012" y="310934"/>
                  </a:lnTo>
                  <a:lnTo>
                    <a:pt x="163131" y="310934"/>
                  </a:lnTo>
                  <a:lnTo>
                    <a:pt x="116465" y="303386"/>
                  </a:lnTo>
                  <a:lnTo>
                    <a:pt x="75898" y="282378"/>
                  </a:lnTo>
                  <a:lnTo>
                    <a:pt x="43884" y="250364"/>
                  </a:lnTo>
                  <a:lnTo>
                    <a:pt x="22876" y="209797"/>
                  </a:lnTo>
                  <a:lnTo>
                    <a:pt x="15328" y="163131"/>
                  </a:lnTo>
                  <a:lnTo>
                    <a:pt x="22876" y="116465"/>
                  </a:lnTo>
                  <a:lnTo>
                    <a:pt x="43884" y="75898"/>
                  </a:lnTo>
                  <a:lnTo>
                    <a:pt x="75898" y="43884"/>
                  </a:lnTo>
                  <a:lnTo>
                    <a:pt x="116465" y="22876"/>
                  </a:lnTo>
                  <a:lnTo>
                    <a:pt x="163131" y="15328"/>
                  </a:lnTo>
                  <a:lnTo>
                    <a:pt x="229012" y="15328"/>
                  </a:lnTo>
                  <a:lnTo>
                    <a:pt x="206497" y="5827"/>
                  </a:lnTo>
                  <a:lnTo>
                    <a:pt x="163131" y="0"/>
                  </a:lnTo>
                  <a:close/>
                </a:path>
                <a:path w="326390" h="326389">
                  <a:moveTo>
                    <a:pt x="229012" y="15328"/>
                  </a:moveTo>
                  <a:lnTo>
                    <a:pt x="163131" y="15328"/>
                  </a:lnTo>
                  <a:lnTo>
                    <a:pt x="209797" y="22876"/>
                  </a:lnTo>
                  <a:lnTo>
                    <a:pt x="250364" y="43884"/>
                  </a:lnTo>
                  <a:lnTo>
                    <a:pt x="282378" y="75898"/>
                  </a:lnTo>
                  <a:lnTo>
                    <a:pt x="303386" y="116465"/>
                  </a:lnTo>
                  <a:lnTo>
                    <a:pt x="310934" y="163131"/>
                  </a:lnTo>
                  <a:lnTo>
                    <a:pt x="303386" y="209797"/>
                  </a:lnTo>
                  <a:lnTo>
                    <a:pt x="282378" y="250364"/>
                  </a:lnTo>
                  <a:lnTo>
                    <a:pt x="250364" y="282378"/>
                  </a:lnTo>
                  <a:lnTo>
                    <a:pt x="209797" y="303386"/>
                  </a:lnTo>
                  <a:lnTo>
                    <a:pt x="163131" y="310934"/>
                  </a:lnTo>
                  <a:lnTo>
                    <a:pt x="229012" y="310934"/>
                  </a:lnTo>
                  <a:lnTo>
                    <a:pt x="278482" y="278482"/>
                  </a:lnTo>
                  <a:lnTo>
                    <a:pt x="303990" y="245466"/>
                  </a:lnTo>
                  <a:lnTo>
                    <a:pt x="320435" y="206497"/>
                  </a:lnTo>
                  <a:lnTo>
                    <a:pt x="326263" y="163131"/>
                  </a:lnTo>
                  <a:lnTo>
                    <a:pt x="320435" y="119765"/>
                  </a:lnTo>
                  <a:lnTo>
                    <a:pt x="303990" y="80796"/>
                  </a:lnTo>
                  <a:lnTo>
                    <a:pt x="278482" y="47780"/>
                  </a:lnTo>
                  <a:lnTo>
                    <a:pt x="245466" y="22272"/>
                  </a:lnTo>
                  <a:lnTo>
                    <a:pt x="229012" y="15328"/>
                  </a:lnTo>
                  <a:close/>
                </a:path>
              </a:pathLst>
            </a:custGeom>
            <a:solidFill>
              <a:srgbClr val="0097FF"/>
            </a:solidFill>
          </p:spPr>
          <p:txBody>
            <a:bodyPr wrap="square" lIns="0" tIns="0" rIns="0" bIns="0" rtlCol="0"/>
            <a:lstStyle/>
            <a:p>
              <a:endParaRPr/>
            </a:p>
          </p:txBody>
        </p:sp>
        <p:pic>
          <p:nvPicPr>
            <p:cNvPr id="7" name="object 7">
              <a:hlinkClick r:id="rId4"/>
            </p:cNvPr>
            <p:cNvPicPr/>
            <p:nvPr/>
          </p:nvPicPr>
          <p:blipFill>
            <a:blip r:embed="rId5" cstate="print"/>
            <a:stretch>
              <a:fillRect/>
            </a:stretch>
          </p:blipFill>
          <p:spPr>
            <a:xfrm>
              <a:off x="8591966" y="3346368"/>
              <a:ext cx="166801" cy="156121"/>
            </a:xfrm>
            <a:prstGeom prst="rect">
              <a:avLst/>
            </a:prstGeom>
          </p:spPr>
        </p:pic>
      </p:grpSp>
      <p:sp>
        <p:nvSpPr>
          <p:cNvPr id="8" name="object 8">
            <a:hlinkClick r:id="rId6"/>
          </p:cNvPr>
          <p:cNvSpPr/>
          <p:nvPr/>
        </p:nvSpPr>
        <p:spPr>
          <a:xfrm>
            <a:off x="8958163" y="3358959"/>
            <a:ext cx="323850" cy="323850"/>
          </a:xfrm>
          <a:custGeom>
            <a:avLst/>
            <a:gdLst/>
            <a:ahLst/>
            <a:cxnLst/>
            <a:rect l="l" t="t" r="r" b="b"/>
            <a:pathLst>
              <a:path w="323850" h="323850">
                <a:moveTo>
                  <a:pt x="161925" y="0"/>
                </a:moveTo>
                <a:lnTo>
                  <a:pt x="118877" y="5783"/>
                </a:lnTo>
                <a:lnTo>
                  <a:pt x="80196" y="22106"/>
                </a:lnTo>
                <a:lnTo>
                  <a:pt x="47424" y="47424"/>
                </a:lnTo>
                <a:lnTo>
                  <a:pt x="22106" y="80196"/>
                </a:lnTo>
                <a:lnTo>
                  <a:pt x="5783" y="118877"/>
                </a:lnTo>
                <a:lnTo>
                  <a:pt x="0" y="161925"/>
                </a:lnTo>
                <a:lnTo>
                  <a:pt x="5783" y="204972"/>
                </a:lnTo>
                <a:lnTo>
                  <a:pt x="22106" y="243653"/>
                </a:lnTo>
                <a:lnTo>
                  <a:pt x="47424" y="276425"/>
                </a:lnTo>
                <a:lnTo>
                  <a:pt x="80196" y="301743"/>
                </a:lnTo>
                <a:lnTo>
                  <a:pt x="118877" y="318066"/>
                </a:lnTo>
                <a:lnTo>
                  <a:pt x="161925" y="323850"/>
                </a:lnTo>
                <a:lnTo>
                  <a:pt x="204972" y="318066"/>
                </a:lnTo>
                <a:lnTo>
                  <a:pt x="226960" y="308787"/>
                </a:lnTo>
                <a:lnTo>
                  <a:pt x="161925" y="308787"/>
                </a:lnTo>
                <a:lnTo>
                  <a:pt x="115503" y="301301"/>
                </a:lnTo>
                <a:lnTo>
                  <a:pt x="75187" y="280453"/>
                </a:lnTo>
                <a:lnTo>
                  <a:pt x="43396" y="248662"/>
                </a:lnTo>
                <a:lnTo>
                  <a:pt x="22548" y="208346"/>
                </a:lnTo>
                <a:lnTo>
                  <a:pt x="15062" y="161925"/>
                </a:lnTo>
                <a:lnTo>
                  <a:pt x="22548" y="115503"/>
                </a:lnTo>
                <a:lnTo>
                  <a:pt x="43396" y="75187"/>
                </a:lnTo>
                <a:lnTo>
                  <a:pt x="75187" y="43396"/>
                </a:lnTo>
                <a:lnTo>
                  <a:pt x="115503" y="22548"/>
                </a:lnTo>
                <a:lnTo>
                  <a:pt x="161925" y="15062"/>
                </a:lnTo>
                <a:lnTo>
                  <a:pt x="226960" y="15062"/>
                </a:lnTo>
                <a:lnTo>
                  <a:pt x="204972" y="5783"/>
                </a:lnTo>
                <a:lnTo>
                  <a:pt x="161925" y="0"/>
                </a:lnTo>
                <a:close/>
              </a:path>
              <a:path w="323850" h="323850">
                <a:moveTo>
                  <a:pt x="226960" y="15062"/>
                </a:moveTo>
                <a:lnTo>
                  <a:pt x="161925" y="15062"/>
                </a:lnTo>
                <a:lnTo>
                  <a:pt x="208346" y="22548"/>
                </a:lnTo>
                <a:lnTo>
                  <a:pt x="248662" y="43396"/>
                </a:lnTo>
                <a:lnTo>
                  <a:pt x="280453" y="75187"/>
                </a:lnTo>
                <a:lnTo>
                  <a:pt x="301301" y="115503"/>
                </a:lnTo>
                <a:lnTo>
                  <a:pt x="308787" y="161925"/>
                </a:lnTo>
                <a:lnTo>
                  <a:pt x="301301" y="208346"/>
                </a:lnTo>
                <a:lnTo>
                  <a:pt x="280453" y="248662"/>
                </a:lnTo>
                <a:lnTo>
                  <a:pt x="248662" y="280453"/>
                </a:lnTo>
                <a:lnTo>
                  <a:pt x="208346" y="301301"/>
                </a:lnTo>
                <a:lnTo>
                  <a:pt x="161925" y="308787"/>
                </a:lnTo>
                <a:lnTo>
                  <a:pt x="226960" y="308787"/>
                </a:lnTo>
                <a:lnTo>
                  <a:pt x="276425" y="276425"/>
                </a:lnTo>
                <a:lnTo>
                  <a:pt x="301743" y="243653"/>
                </a:lnTo>
                <a:lnTo>
                  <a:pt x="318066" y="204972"/>
                </a:lnTo>
                <a:lnTo>
                  <a:pt x="323850" y="161925"/>
                </a:lnTo>
                <a:lnTo>
                  <a:pt x="318066" y="118877"/>
                </a:lnTo>
                <a:lnTo>
                  <a:pt x="301743" y="80196"/>
                </a:lnTo>
                <a:lnTo>
                  <a:pt x="276425" y="47424"/>
                </a:lnTo>
                <a:lnTo>
                  <a:pt x="243653" y="22106"/>
                </a:lnTo>
                <a:lnTo>
                  <a:pt x="226960" y="15062"/>
                </a:lnTo>
                <a:close/>
              </a:path>
              <a:path w="323850" h="323850">
                <a:moveTo>
                  <a:pt x="174747" y="97964"/>
                </a:moveTo>
                <a:lnTo>
                  <a:pt x="132796" y="97964"/>
                </a:lnTo>
                <a:lnTo>
                  <a:pt x="114473" y="98382"/>
                </a:lnTo>
                <a:lnTo>
                  <a:pt x="79095" y="117906"/>
                </a:lnTo>
                <a:lnTo>
                  <a:pt x="75843" y="144499"/>
                </a:lnTo>
                <a:lnTo>
                  <a:pt x="75784" y="145264"/>
                </a:lnTo>
                <a:lnTo>
                  <a:pt x="75370" y="157052"/>
                </a:lnTo>
                <a:lnTo>
                  <a:pt x="75370" y="179350"/>
                </a:lnTo>
                <a:lnTo>
                  <a:pt x="87299" y="220014"/>
                </a:lnTo>
                <a:lnTo>
                  <a:pt x="135670" y="225467"/>
                </a:lnTo>
                <a:lnTo>
                  <a:pt x="156644" y="225885"/>
                </a:lnTo>
                <a:lnTo>
                  <a:pt x="198589" y="225885"/>
                </a:lnTo>
                <a:lnTo>
                  <a:pt x="244081" y="220014"/>
                </a:lnTo>
                <a:lnTo>
                  <a:pt x="254843" y="188290"/>
                </a:lnTo>
                <a:lnTo>
                  <a:pt x="150622" y="188290"/>
                </a:lnTo>
                <a:lnTo>
                  <a:pt x="150622" y="135559"/>
                </a:lnTo>
                <a:lnTo>
                  <a:pt x="255654" y="135559"/>
                </a:lnTo>
                <a:lnTo>
                  <a:pt x="255597" y="134105"/>
                </a:lnTo>
                <a:lnTo>
                  <a:pt x="219328" y="99517"/>
                </a:lnTo>
                <a:lnTo>
                  <a:pt x="195716" y="98382"/>
                </a:lnTo>
                <a:lnTo>
                  <a:pt x="174747" y="97964"/>
                </a:lnTo>
                <a:close/>
              </a:path>
              <a:path w="323850" h="323850">
                <a:moveTo>
                  <a:pt x="255654" y="135559"/>
                </a:moveTo>
                <a:lnTo>
                  <a:pt x="150622" y="135559"/>
                </a:lnTo>
                <a:lnTo>
                  <a:pt x="195821" y="161925"/>
                </a:lnTo>
                <a:lnTo>
                  <a:pt x="150622" y="188290"/>
                </a:lnTo>
                <a:lnTo>
                  <a:pt x="254843" y="188290"/>
                </a:lnTo>
                <a:lnTo>
                  <a:pt x="255537" y="179350"/>
                </a:lnTo>
                <a:lnTo>
                  <a:pt x="255597" y="178585"/>
                </a:lnTo>
                <a:lnTo>
                  <a:pt x="256010" y="166797"/>
                </a:lnTo>
                <a:lnTo>
                  <a:pt x="256010" y="144499"/>
                </a:lnTo>
                <a:lnTo>
                  <a:pt x="255654" y="135559"/>
                </a:lnTo>
                <a:close/>
              </a:path>
            </a:pathLst>
          </a:custGeom>
          <a:solidFill>
            <a:srgbClr val="0097FF"/>
          </a:solidFill>
        </p:spPr>
        <p:txBody>
          <a:bodyPr wrap="square" lIns="0" tIns="0" rIns="0" bIns="0" rtlCol="0"/>
          <a:lstStyle/>
          <a:p>
            <a:endParaRPr/>
          </a:p>
        </p:txBody>
      </p:sp>
      <p:sp>
        <p:nvSpPr>
          <p:cNvPr id="9" name="object 9">
            <a:hlinkClick r:id="rId7"/>
          </p:cNvPr>
          <p:cNvSpPr txBox="1"/>
          <p:nvPr/>
        </p:nvSpPr>
        <p:spPr>
          <a:xfrm>
            <a:off x="8050307" y="3937393"/>
            <a:ext cx="2912968" cy="526491"/>
          </a:xfrm>
          <a:prstGeom prst="rect">
            <a:avLst/>
          </a:prstGeom>
        </p:spPr>
        <p:txBody>
          <a:bodyPr vert="horz" wrap="square" lIns="0" tIns="12700" rIns="0" bIns="0" rtlCol="0">
            <a:spAutoFit/>
          </a:bodyPr>
          <a:lstStyle/>
          <a:p>
            <a:pPr marL="12700" marR="5080" indent="1905">
              <a:lnSpc>
                <a:spcPct val="107200"/>
              </a:lnSpc>
              <a:spcBef>
                <a:spcPts val="100"/>
              </a:spcBef>
            </a:pPr>
            <a:r>
              <a:rPr sz="1600" dirty="0">
                <a:solidFill>
                  <a:srgbClr val="FFFFFF"/>
                </a:solidFill>
                <a:cs typeface="Lucida Sans Unicode"/>
              </a:rPr>
              <a:t>Attend a Gartner conference </a:t>
            </a:r>
            <a:r>
              <a:rPr sz="1600" b="1" dirty="0">
                <a:solidFill>
                  <a:srgbClr val="0097FF"/>
                </a:solidFill>
                <a:latin typeface="Gartner Sans Semibold" panose="020B0504030402040204" pitchFamily="34" charset="77"/>
                <a:cs typeface="Lucida Sans Unicode"/>
              </a:rPr>
              <a:t>View Conference</a:t>
            </a:r>
            <a:endParaRPr sz="1600" b="1" dirty="0">
              <a:latin typeface="Gartner Sans Semibold" panose="020B0504030402040204" pitchFamily="34" charset="77"/>
              <a:cs typeface="Lucida Sans Unicode"/>
            </a:endParaRPr>
          </a:p>
        </p:txBody>
      </p:sp>
      <p:sp>
        <p:nvSpPr>
          <p:cNvPr id="11" name="object 11"/>
          <p:cNvSpPr txBox="1"/>
          <p:nvPr/>
        </p:nvSpPr>
        <p:spPr>
          <a:xfrm>
            <a:off x="469352" y="2314968"/>
            <a:ext cx="5188498" cy="1594411"/>
          </a:xfrm>
          <a:prstGeom prst="rect">
            <a:avLst/>
          </a:prstGeom>
        </p:spPr>
        <p:txBody>
          <a:bodyPr vert="horz" wrap="square" lIns="0" tIns="12700" rIns="0" bIns="0" rtlCol="0">
            <a:spAutoFit/>
          </a:bodyPr>
          <a:lstStyle/>
          <a:p>
            <a:pPr marL="12700" marR="5080" indent="3810">
              <a:lnSpc>
                <a:spcPct val="111100"/>
              </a:lnSpc>
              <a:spcBef>
                <a:spcPts val="100"/>
              </a:spcBef>
            </a:pPr>
            <a:r>
              <a:rPr sz="1600" dirty="0">
                <a:solidFill>
                  <a:srgbClr val="FFFFFF"/>
                </a:solidFill>
                <a:cs typeface="Lucida Sans Unicode"/>
              </a:rPr>
              <a:t>Get actionable, objective business and technology insights that drive smarter decisions and stronger performance on your mission‑critical priorities.</a:t>
            </a:r>
            <a:endParaRPr sz="1600" dirty="0">
              <a:cs typeface="Lucida Sans Unicode"/>
            </a:endParaRPr>
          </a:p>
          <a:p>
            <a:pPr marL="25400">
              <a:lnSpc>
                <a:spcPct val="100000"/>
              </a:lnSpc>
              <a:spcBef>
                <a:spcPts val="1639"/>
              </a:spcBef>
            </a:pPr>
            <a:r>
              <a:rPr sz="1600" dirty="0">
                <a:solidFill>
                  <a:srgbClr val="FFFFFF"/>
                </a:solidFill>
                <a:cs typeface="Lucida Sans Unicode"/>
              </a:rPr>
              <a:t>U.S.: 1 855 322 5484</a:t>
            </a:r>
            <a:endParaRPr sz="1600" dirty="0">
              <a:cs typeface="Lucida Sans Unicode"/>
            </a:endParaRPr>
          </a:p>
          <a:p>
            <a:pPr marL="26034">
              <a:lnSpc>
                <a:spcPct val="100000"/>
              </a:lnSpc>
              <a:spcBef>
                <a:spcPts val="520"/>
              </a:spcBef>
            </a:pPr>
            <a:r>
              <a:rPr sz="1600" dirty="0">
                <a:solidFill>
                  <a:srgbClr val="FFFFFF"/>
                </a:solidFill>
                <a:cs typeface="Lucida Sans Unicode"/>
              </a:rPr>
              <a:t>International: +44 (0) 3300 296 946</a:t>
            </a:r>
            <a:endParaRPr sz="1600" dirty="0">
              <a:cs typeface="Lucida Sans Unicode"/>
            </a:endParaRPr>
          </a:p>
        </p:txBody>
      </p:sp>
      <p:sp>
        <p:nvSpPr>
          <p:cNvPr id="12" name="object 12">
            <a:hlinkClick r:id="rId8"/>
          </p:cNvPr>
          <p:cNvSpPr/>
          <p:nvPr/>
        </p:nvSpPr>
        <p:spPr>
          <a:xfrm>
            <a:off x="463423" y="4275333"/>
            <a:ext cx="1832102" cy="513080"/>
          </a:xfrm>
          <a:custGeom>
            <a:avLst/>
            <a:gdLst/>
            <a:ahLst/>
            <a:cxnLst/>
            <a:rect l="l" t="t" r="r" b="b"/>
            <a:pathLst>
              <a:path w="1816735" h="513079">
                <a:moveTo>
                  <a:pt x="1765630" y="0"/>
                </a:moveTo>
                <a:lnTo>
                  <a:pt x="50800" y="0"/>
                </a:lnTo>
                <a:lnTo>
                  <a:pt x="31027" y="3992"/>
                </a:lnTo>
                <a:lnTo>
                  <a:pt x="14879" y="14879"/>
                </a:lnTo>
                <a:lnTo>
                  <a:pt x="3992" y="31027"/>
                </a:lnTo>
                <a:lnTo>
                  <a:pt x="0" y="50800"/>
                </a:lnTo>
                <a:lnTo>
                  <a:pt x="0" y="462280"/>
                </a:lnTo>
                <a:lnTo>
                  <a:pt x="3992" y="482052"/>
                </a:lnTo>
                <a:lnTo>
                  <a:pt x="14879" y="498200"/>
                </a:lnTo>
                <a:lnTo>
                  <a:pt x="31027" y="509087"/>
                </a:lnTo>
                <a:lnTo>
                  <a:pt x="50800" y="513080"/>
                </a:lnTo>
                <a:lnTo>
                  <a:pt x="1765630" y="513080"/>
                </a:lnTo>
                <a:lnTo>
                  <a:pt x="1785403" y="509087"/>
                </a:lnTo>
                <a:lnTo>
                  <a:pt x="1801550" y="498200"/>
                </a:lnTo>
                <a:lnTo>
                  <a:pt x="1812437" y="482052"/>
                </a:lnTo>
                <a:lnTo>
                  <a:pt x="1816430" y="462280"/>
                </a:lnTo>
                <a:lnTo>
                  <a:pt x="1816430" y="50800"/>
                </a:lnTo>
                <a:lnTo>
                  <a:pt x="1812437" y="31027"/>
                </a:lnTo>
                <a:lnTo>
                  <a:pt x="1801550" y="14879"/>
                </a:lnTo>
                <a:lnTo>
                  <a:pt x="1785403" y="3992"/>
                </a:lnTo>
                <a:lnTo>
                  <a:pt x="1765630" y="0"/>
                </a:lnTo>
                <a:close/>
              </a:path>
            </a:pathLst>
          </a:custGeom>
          <a:solidFill>
            <a:srgbClr val="FFFFFF"/>
          </a:solidFill>
        </p:spPr>
        <p:txBody>
          <a:bodyPr wrap="square" lIns="0" tIns="0" rIns="0" bIns="0" rtlCol="0" anchor="ctr"/>
          <a:lstStyle/>
          <a:p>
            <a:pPr marL="12700" algn="ctr">
              <a:spcBef>
                <a:spcPts val="100"/>
              </a:spcBef>
            </a:pPr>
            <a:r>
              <a:rPr lang="en-US" sz="1400" b="1" dirty="0">
                <a:solidFill>
                  <a:srgbClr val="00236B"/>
                </a:solidFill>
                <a:latin typeface="Gartner Sans Semibold" panose="020B0504030402040204" pitchFamily="34" charset="77"/>
                <a:cs typeface="Lucida Sans Unicode"/>
              </a:rPr>
              <a:t>Become</a:t>
            </a:r>
            <a:r>
              <a:rPr lang="en-US" sz="1400" b="1" spc="-80" dirty="0">
                <a:solidFill>
                  <a:srgbClr val="00236B"/>
                </a:solidFill>
                <a:latin typeface="Gartner Sans Semibold" panose="020B0504030402040204" pitchFamily="34" charset="77"/>
                <a:cs typeface="Lucida Sans Unicode"/>
              </a:rPr>
              <a:t> </a:t>
            </a:r>
            <a:r>
              <a:rPr lang="en-US" sz="1400" b="1" spc="-35" dirty="0">
                <a:solidFill>
                  <a:srgbClr val="00236B"/>
                </a:solidFill>
                <a:latin typeface="Gartner Sans Semibold" panose="020B0504030402040204" pitchFamily="34" charset="77"/>
                <a:cs typeface="Lucida Sans Unicode"/>
              </a:rPr>
              <a:t>a</a:t>
            </a:r>
            <a:r>
              <a:rPr lang="en-US" sz="1400" b="1" spc="-75" dirty="0">
                <a:solidFill>
                  <a:srgbClr val="00236B"/>
                </a:solidFill>
                <a:latin typeface="Gartner Sans Semibold" panose="020B0504030402040204" pitchFamily="34" charset="77"/>
                <a:cs typeface="Lucida Sans Unicode"/>
              </a:rPr>
              <a:t> </a:t>
            </a:r>
            <a:r>
              <a:rPr lang="en-US" sz="1400" b="1" spc="-10" dirty="0">
                <a:solidFill>
                  <a:srgbClr val="00236B"/>
                </a:solidFill>
                <a:latin typeface="Gartner Sans Semibold" panose="020B0504030402040204" pitchFamily="34" charset="77"/>
                <a:cs typeface="Lucida Sans Unicode"/>
              </a:rPr>
              <a:t>Client</a:t>
            </a:r>
            <a:endParaRPr lang="en-US" sz="1400" b="1" dirty="0">
              <a:latin typeface="Gartner Sans Semibold" panose="020B0504030402040204" pitchFamily="34" charset="77"/>
              <a:cs typeface="Lucida Sans Unicode"/>
            </a:endParaRPr>
          </a:p>
        </p:txBody>
      </p:sp>
      <p:sp>
        <p:nvSpPr>
          <p:cNvPr id="15" name="TextBox 14">
            <a:extLst>
              <a:ext uri="{FF2B5EF4-FFF2-40B4-BE49-F238E27FC236}">
                <a16:creationId xmlns:a16="http://schemas.microsoft.com/office/drawing/2014/main" id="{7C184B47-9133-241D-EDCE-1FC74368B676}"/>
              </a:ext>
            </a:extLst>
          </p:cNvPr>
          <p:cNvSpPr txBox="1"/>
          <p:nvPr/>
        </p:nvSpPr>
        <p:spPr>
          <a:xfrm>
            <a:off x="8068733" y="3006442"/>
            <a:ext cx="6097836" cy="246221"/>
          </a:xfrm>
          <a:prstGeom prst="rect">
            <a:avLst/>
          </a:prstGeom>
          <a:noFill/>
        </p:spPr>
        <p:txBody>
          <a:bodyPr wrap="square" lIns="0" tIns="0" rIns="0" bIns="0">
            <a:spAutoFit/>
          </a:bodyPr>
          <a:lstStyle/>
          <a:p>
            <a:pPr>
              <a:lnSpc>
                <a:spcPct val="100000"/>
              </a:lnSpc>
              <a:spcBef>
                <a:spcPts val="1520"/>
              </a:spcBef>
            </a:pPr>
            <a:r>
              <a:rPr lang="en-US" sz="1600" dirty="0">
                <a:solidFill>
                  <a:srgbClr val="FFFFFF"/>
                </a:solidFill>
                <a:cs typeface="Lucida Sans Unicode"/>
              </a:rPr>
              <a:t>Stay connected to the latest insights</a:t>
            </a:r>
            <a:endParaRPr lang="en-US" sz="1600" dirty="0">
              <a:cs typeface="Lucida Sans Unicode"/>
            </a:endParaRPr>
          </a:p>
        </p:txBody>
      </p:sp>
      <p:sp>
        <p:nvSpPr>
          <p:cNvPr id="2" name="object 10" descr="$PPTXTitle">
            <a:extLst>
              <a:ext uri="{FF2B5EF4-FFF2-40B4-BE49-F238E27FC236}">
                <a16:creationId xmlns:a16="http://schemas.microsoft.com/office/drawing/2014/main" id="{1E64690A-5935-E015-FC57-CF9700DFE9C3}"/>
              </a:ext>
            </a:extLst>
          </p:cNvPr>
          <p:cNvSpPr txBox="1">
            <a:spLocks/>
          </p:cNvSpPr>
          <p:nvPr/>
        </p:nvSpPr>
        <p:spPr>
          <a:xfrm>
            <a:off x="463423" y="853502"/>
            <a:ext cx="11274552" cy="843821"/>
          </a:xfrm>
          <a:prstGeom prst="rect">
            <a:avLst/>
          </a:prstGeom>
        </p:spPr>
        <p:txBody>
          <a:bodyPr vert="horz" wrap="square" lIns="0" tIns="12700" rIns="0" bIns="0" rtlCol="0">
            <a:spAutoFit/>
          </a:bodyPr>
          <a:lstStyle>
            <a:lvl1pPr algn="l" defTabSz="914400" rtl="0" eaLnBrk="1" latinLnBrk="0" hangingPunct="1">
              <a:lnSpc>
                <a:spcPct val="100000"/>
              </a:lnSpc>
              <a:spcBef>
                <a:spcPts val="0"/>
              </a:spcBef>
              <a:spcAft>
                <a:spcPts val="0"/>
              </a:spcAft>
              <a:buNone/>
              <a:defRPr sz="2800" kern="1200">
                <a:solidFill>
                  <a:schemeClr val="tx2"/>
                </a:solidFill>
                <a:latin typeface="+mj-lt"/>
                <a:ea typeface="+mj-ea"/>
                <a:cs typeface="+mj-cs"/>
              </a:defRPr>
            </a:lvl1pPr>
          </a:lstStyle>
          <a:p>
            <a:pPr marL="12700">
              <a:spcBef>
                <a:spcPts val="100"/>
              </a:spcBef>
            </a:pPr>
            <a:r>
              <a:rPr lang="en-US" sz="5400" dirty="0">
                <a:solidFill>
                  <a:srgbClr val="B8DEFF"/>
                </a:solidFill>
                <a:latin typeface="+mn-lt"/>
              </a:rPr>
              <a:t>Connect with us</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26_Corporate_Template">
  <a:themeElements>
    <a:clrScheme name="2026 Brand">
      <a:dk1>
        <a:srgbClr val="000000"/>
      </a:dk1>
      <a:lt1>
        <a:srgbClr val="FFFFFF"/>
      </a:lt1>
      <a:dk2>
        <a:srgbClr val="002869"/>
      </a:dk2>
      <a:lt2>
        <a:srgbClr val="FFFFFF"/>
      </a:lt2>
      <a:accent1>
        <a:srgbClr val="002869"/>
      </a:accent1>
      <a:accent2>
        <a:srgbClr val="0057AF"/>
      </a:accent2>
      <a:accent3>
        <a:srgbClr val="1F96FF"/>
      </a:accent3>
      <a:accent4>
        <a:srgbClr val="167ACB"/>
      </a:accent4>
      <a:accent5>
        <a:srgbClr val="4C8CD2"/>
      </a:accent5>
      <a:accent6>
        <a:srgbClr val="5A798C"/>
      </a:accent6>
      <a:hlink>
        <a:srgbClr val="006AC7"/>
      </a:hlink>
      <a:folHlink>
        <a:srgbClr val="003569"/>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defPPr algn="l">
          <a:defRPr sz="20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9050" cap="flat" cmpd="sng">
          <a:solidFill>
            <a:srgbClr val="707996"/>
          </a:solidFill>
          <a:prstDash val="solid"/>
          <a:round/>
          <a:headEnd type="none" w="lg" len="med"/>
          <a:tailEnd type="none" w="lg" len="med"/>
        </a:ln>
      </a:spPr>
      <a:bodyPr/>
      <a:lstStyle/>
    </a:lnDef>
    <a:txDef>
      <a:spPr>
        <a:noFill/>
      </a:spPr>
      <a:bodyPr wrap="square" lIns="0" rIns="0" rtlCol="0">
        <a:spAutoFit/>
      </a:bodyPr>
      <a:lstStyle>
        <a:defPPr algn="l">
          <a:spcBef>
            <a:spcPts val="600"/>
          </a:spcBef>
          <a:defRPr sz="2000" dirty="0" smtClean="0"/>
        </a:defPPr>
      </a:lstStyle>
    </a:txDef>
  </a:objectDefaults>
  <a:extraClrSchemeLst/>
  <a:custClrLst>
    <a:custClr name="Gartner Blue">
      <a:srgbClr val="002869"/>
    </a:custClr>
    <a:custClr name="Cobalt">
      <a:srgbClr val="0057AF"/>
    </a:custClr>
    <a:custClr name="Opal">
      <a:srgbClr val="1F96FF"/>
    </a:custClr>
    <a:custClr name="Sapphire">
      <a:srgbClr val="167ACB"/>
    </a:custClr>
    <a:custClr name="Topaz">
      <a:srgbClr val="4C8CD2"/>
    </a:custClr>
    <a:custClr name="White">
      <a:srgbClr val="FFFFFF"/>
    </a:custClr>
    <a:custClr name="Moonstone">
      <a:srgbClr val="B8DEFF"/>
    </a:custClr>
    <a:custClr name="Sunstone">
      <a:srgbClr val="E36135"/>
    </a:custClr>
    <a:custClr name="Onyx">
      <a:srgbClr val="00002D"/>
    </a:custClr>
    <a:custClr name="Error Red">
      <a:srgbClr val="DE0A01"/>
    </a:custClr>
    <a:custClr name="Granite">
      <a:srgbClr val="5A798C"/>
    </a:custClr>
    <a:custClr name="Amethyst">
      <a:srgbClr val="9673BE"/>
    </a:custClr>
    <a:custClr name="Lapis">
      <a:srgbClr val="6872B6"/>
    </a:custClr>
    <a:custClr name="Aquamarine">
      <a:srgbClr val="3C92B5"/>
    </a:custClr>
    <a:custClr name="Emerald">
      <a:srgbClr val="0A8F74"/>
    </a:custClr>
    <a:custClr name="White">
      <a:srgbClr val="FFFFFF"/>
    </a:custClr>
    <a:custClr name="Crystal">
      <a:srgbClr val="E0F1FF"/>
    </a:custClr>
    <a:custClr name="Border Gray">
      <a:srgbClr val="707996"/>
    </a:custClr>
    <a:custClr name="White">
      <a:srgbClr val="FFFFFF"/>
    </a:custClr>
    <a:custClr name="Warning Yellow">
      <a:srgbClr val="F5AB23"/>
    </a:custClr>
    <a:custClr name="Jade">
      <a:srgbClr val="589384"/>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uccess Green">
      <a:srgbClr val="00A76D"/>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Link Blue">
      <a:srgbClr val="006AC7"/>
    </a:custClr>
  </a:custClrLst>
  <a:extLst>
    <a:ext uri="{05A4C25C-085E-4340-85A3-A5531E510DB2}">
      <thm15:themeFamily xmlns:thm15="http://schemas.microsoft.com/office/thememl/2012/main" name="2026_Corporate_Template" id="{6178C3BC-7BF3-441C-A905-C2F60EC48173}" vid="{719AA06B-1CFC-43A5-9FD1-9CBDCAEC978F}"/>
    </a:ext>
  </a:extLst>
</a:theme>
</file>

<file path=ppt/theme/theme2.xml><?xml version="1.0" encoding="utf-8"?>
<a:theme xmlns:a="http://schemas.openxmlformats.org/drawingml/2006/main" name="Blue bkgrnd master">
  <a:themeElements>
    <a:clrScheme name="2026 Brand">
      <a:dk1>
        <a:srgbClr val="000000"/>
      </a:dk1>
      <a:lt1>
        <a:srgbClr val="FFFFFF"/>
      </a:lt1>
      <a:dk2>
        <a:srgbClr val="002869"/>
      </a:dk2>
      <a:lt2>
        <a:srgbClr val="FFFFFF"/>
      </a:lt2>
      <a:accent1>
        <a:srgbClr val="002869"/>
      </a:accent1>
      <a:accent2>
        <a:srgbClr val="0057AF"/>
      </a:accent2>
      <a:accent3>
        <a:srgbClr val="1F96FF"/>
      </a:accent3>
      <a:accent4>
        <a:srgbClr val="167ACB"/>
      </a:accent4>
      <a:accent5>
        <a:srgbClr val="4C8CD2"/>
      </a:accent5>
      <a:accent6>
        <a:srgbClr val="5A798C"/>
      </a:accent6>
      <a:hlink>
        <a:srgbClr val="006AC7"/>
      </a:hlink>
      <a:folHlink>
        <a:srgbClr val="003569"/>
      </a:folHlink>
    </a:clrScheme>
    <a:fontScheme name="Gartner Sans">
      <a:majorFont>
        <a:latin typeface="Gartner Sans Semibold"/>
        <a:ea typeface=""/>
        <a:cs typeface=""/>
      </a:majorFont>
      <a:minorFont>
        <a:latin typeface="Gartner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artner Blue">
      <a:srgbClr val="002869"/>
    </a:custClr>
    <a:custClr name="Cobalt">
      <a:srgbClr val="0057AF"/>
    </a:custClr>
    <a:custClr name="Opal">
      <a:srgbClr val="1F96FF"/>
    </a:custClr>
    <a:custClr name="Sapphire">
      <a:srgbClr val="167ACB"/>
    </a:custClr>
    <a:custClr name="Topaz">
      <a:srgbClr val="4C8CD2"/>
    </a:custClr>
    <a:custClr name="White">
      <a:srgbClr val="FFFFFF"/>
    </a:custClr>
    <a:custClr name="Moonstone">
      <a:srgbClr val="B8DEFF"/>
    </a:custClr>
    <a:custClr name="Sunstone">
      <a:srgbClr val="E36135"/>
    </a:custClr>
    <a:custClr name="Onyx">
      <a:srgbClr val="00002D"/>
    </a:custClr>
    <a:custClr name="Error Red">
      <a:srgbClr val="DE0A01"/>
    </a:custClr>
    <a:custClr name="Granite">
      <a:srgbClr val="5A798C"/>
    </a:custClr>
    <a:custClr name="Amethyst">
      <a:srgbClr val="9673BE"/>
    </a:custClr>
    <a:custClr name="Lapis">
      <a:srgbClr val="6872B6"/>
    </a:custClr>
    <a:custClr name="Aquamarine">
      <a:srgbClr val="3C92B5"/>
    </a:custClr>
    <a:custClr name="Emerald">
      <a:srgbClr val="0A8F74"/>
    </a:custClr>
    <a:custClr name="White">
      <a:srgbClr val="FFFFFF"/>
    </a:custClr>
    <a:custClr name="Crystal">
      <a:srgbClr val="E0F1FF"/>
    </a:custClr>
    <a:custClr name="Border Gray">
      <a:srgbClr val="707996"/>
    </a:custClr>
    <a:custClr name="White">
      <a:srgbClr val="FFFFFF"/>
    </a:custClr>
    <a:custClr name="Warning Yellow">
      <a:srgbClr val="F5AB23"/>
    </a:custClr>
    <a:custClr name="Jade">
      <a:srgbClr val="589384"/>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uccess Green">
      <a:srgbClr val="00A76D"/>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Link Blue">
      <a:srgbClr val="006AC7"/>
    </a:custClr>
  </a:custClrLst>
  <a:extLst>
    <a:ext uri="{05A4C25C-085E-4340-85A3-A5531E510DB2}">
      <thm15:themeFamily xmlns:thm15="http://schemas.microsoft.com/office/thememl/2012/main" name="2026_Corporate_Template.potx" id="{38F3A75B-F955-4835-AB9E-C03476FD501E}" vid="{23445A35-0F56-43F5-BB44-433EAE89F553}"/>
    </a:ext>
  </a:extLst>
</a:theme>
</file>

<file path=ppt/theme/theme3.xml><?xml version="1.0" encoding="utf-8"?>
<a:theme xmlns:a="http://schemas.openxmlformats.org/drawingml/2006/main" name="Crystal bkgrnd master">
  <a:themeElements>
    <a:clrScheme name="2026 Brand">
      <a:dk1>
        <a:srgbClr val="000000"/>
      </a:dk1>
      <a:lt1>
        <a:srgbClr val="FFFFFF"/>
      </a:lt1>
      <a:dk2>
        <a:srgbClr val="002869"/>
      </a:dk2>
      <a:lt2>
        <a:srgbClr val="FFFFFF"/>
      </a:lt2>
      <a:accent1>
        <a:srgbClr val="002869"/>
      </a:accent1>
      <a:accent2>
        <a:srgbClr val="0057AF"/>
      </a:accent2>
      <a:accent3>
        <a:srgbClr val="1F96FF"/>
      </a:accent3>
      <a:accent4>
        <a:srgbClr val="167ACB"/>
      </a:accent4>
      <a:accent5>
        <a:srgbClr val="4C8CD2"/>
      </a:accent5>
      <a:accent6>
        <a:srgbClr val="5A798C"/>
      </a:accent6>
      <a:hlink>
        <a:srgbClr val="006AC7"/>
      </a:hlink>
      <a:folHlink>
        <a:srgbClr val="003569"/>
      </a:folHlink>
    </a:clrScheme>
    <a:fontScheme name="Gartner Sans">
      <a:majorFont>
        <a:latin typeface="Gartner Sans Semibold"/>
        <a:ea typeface=""/>
        <a:cs typeface=""/>
      </a:majorFont>
      <a:minorFont>
        <a:latin typeface="Gartner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artner Blue">
      <a:srgbClr val="002869"/>
    </a:custClr>
    <a:custClr name="Cobalt">
      <a:srgbClr val="0057AF"/>
    </a:custClr>
    <a:custClr name="Opal">
      <a:srgbClr val="1F96FF"/>
    </a:custClr>
    <a:custClr name="Sapphire">
      <a:srgbClr val="167ACB"/>
    </a:custClr>
    <a:custClr name="Topaz">
      <a:srgbClr val="4C8CD2"/>
    </a:custClr>
    <a:custClr name="White">
      <a:srgbClr val="FFFFFF"/>
    </a:custClr>
    <a:custClr name="Moonstone">
      <a:srgbClr val="B8DEFF"/>
    </a:custClr>
    <a:custClr name="Sunstone">
      <a:srgbClr val="E36135"/>
    </a:custClr>
    <a:custClr name="Onyx">
      <a:srgbClr val="00002D"/>
    </a:custClr>
    <a:custClr name="Error Red">
      <a:srgbClr val="DE0A01"/>
    </a:custClr>
    <a:custClr name="Granite">
      <a:srgbClr val="5A798C"/>
    </a:custClr>
    <a:custClr name="Amethyst">
      <a:srgbClr val="9673BE"/>
    </a:custClr>
    <a:custClr name="Lapis">
      <a:srgbClr val="6872B6"/>
    </a:custClr>
    <a:custClr name="Aquamarine">
      <a:srgbClr val="3C92B5"/>
    </a:custClr>
    <a:custClr name="Emerald">
      <a:srgbClr val="0A8F74"/>
    </a:custClr>
    <a:custClr name="White">
      <a:srgbClr val="FFFFFF"/>
    </a:custClr>
    <a:custClr name="Crystal">
      <a:srgbClr val="E0F1FF"/>
    </a:custClr>
    <a:custClr name="Border Gray">
      <a:srgbClr val="707996"/>
    </a:custClr>
    <a:custClr name="White">
      <a:srgbClr val="FFFFFF"/>
    </a:custClr>
    <a:custClr name="Warning Yellow">
      <a:srgbClr val="F5AB23"/>
    </a:custClr>
    <a:custClr name="Jade">
      <a:srgbClr val="589384"/>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uccess Green">
      <a:srgbClr val="00A76D"/>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Link Blue">
      <a:srgbClr val="006AC7"/>
    </a:custClr>
  </a:custClrLst>
  <a:extLst>
    <a:ext uri="{05A4C25C-085E-4340-85A3-A5531E510DB2}">
      <thm15:themeFamily xmlns:thm15="http://schemas.microsoft.com/office/thememl/2012/main" name="2026_Corporate_Template.potx" id="{38F3A75B-F955-4835-AB9E-C03476FD501E}" vid="{CFAB3FAC-95AF-486F-BB77-AC0476B45847}"/>
    </a:ext>
  </a:extLst>
</a:theme>
</file>

<file path=ppt/theme/theme4.xml><?xml version="1.0" encoding="utf-8"?>
<a:theme xmlns:a="http://schemas.openxmlformats.org/drawingml/2006/main" name="1_2026_Corporate_Template">
  <a:themeElements>
    <a:clrScheme name="2026 Brand">
      <a:dk1>
        <a:srgbClr val="000000"/>
      </a:dk1>
      <a:lt1>
        <a:srgbClr val="FFFFFF"/>
      </a:lt1>
      <a:dk2>
        <a:srgbClr val="002869"/>
      </a:dk2>
      <a:lt2>
        <a:srgbClr val="FFFFFF"/>
      </a:lt2>
      <a:accent1>
        <a:srgbClr val="002869"/>
      </a:accent1>
      <a:accent2>
        <a:srgbClr val="0057AF"/>
      </a:accent2>
      <a:accent3>
        <a:srgbClr val="1F96FF"/>
      </a:accent3>
      <a:accent4>
        <a:srgbClr val="167ACB"/>
      </a:accent4>
      <a:accent5>
        <a:srgbClr val="4C8CD2"/>
      </a:accent5>
      <a:accent6>
        <a:srgbClr val="5A798C"/>
      </a:accent6>
      <a:hlink>
        <a:srgbClr val="006AC7"/>
      </a:hlink>
      <a:folHlink>
        <a:srgbClr val="003569"/>
      </a:folHlink>
    </a:clrScheme>
    <a:fontScheme name="Gartner Sans">
      <a:majorFont>
        <a:latin typeface="Gartner Sans Semibold"/>
        <a:ea typeface=""/>
        <a:cs typeface=""/>
      </a:majorFont>
      <a:minorFont>
        <a:latin typeface="Gartner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defPPr algn="l">
          <a:defRPr sz="20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9050" cap="flat" cmpd="sng">
          <a:solidFill>
            <a:srgbClr val="707996"/>
          </a:solidFill>
          <a:prstDash val="solid"/>
          <a:round/>
          <a:headEnd type="none" w="lg" len="med"/>
          <a:tailEnd type="none" w="lg" len="med"/>
        </a:ln>
      </a:spPr>
      <a:bodyPr/>
      <a:lstStyle/>
    </a:lnDef>
    <a:txDef>
      <a:spPr>
        <a:noFill/>
      </a:spPr>
      <a:bodyPr wrap="square" lIns="0" rIns="0" rtlCol="0">
        <a:spAutoFit/>
      </a:bodyPr>
      <a:lstStyle>
        <a:defPPr algn="l">
          <a:spcBef>
            <a:spcPts val="600"/>
          </a:spcBef>
          <a:defRPr sz="2000" dirty="0" smtClean="0"/>
        </a:defPPr>
      </a:lstStyle>
    </a:txDef>
  </a:objectDefaults>
  <a:extraClrSchemeLst/>
  <a:custClrLst>
    <a:custClr name="Gartner Blue">
      <a:srgbClr val="002869"/>
    </a:custClr>
    <a:custClr name="Cobalt">
      <a:srgbClr val="0057AF"/>
    </a:custClr>
    <a:custClr name="Opal">
      <a:srgbClr val="1F96FF"/>
    </a:custClr>
    <a:custClr name="Sapphire">
      <a:srgbClr val="167ACB"/>
    </a:custClr>
    <a:custClr name="Topaz">
      <a:srgbClr val="4C8CD2"/>
    </a:custClr>
    <a:custClr name="White">
      <a:srgbClr val="FFFFFF"/>
    </a:custClr>
    <a:custClr name="Moonstone">
      <a:srgbClr val="B8DEFF"/>
    </a:custClr>
    <a:custClr name="Sunstone">
      <a:srgbClr val="E36135"/>
    </a:custClr>
    <a:custClr name="Onyx">
      <a:srgbClr val="00002D"/>
    </a:custClr>
    <a:custClr name="Error Red">
      <a:srgbClr val="DE0A01"/>
    </a:custClr>
    <a:custClr name="Granite">
      <a:srgbClr val="5A798C"/>
    </a:custClr>
    <a:custClr name="Amethyst">
      <a:srgbClr val="9673BE"/>
    </a:custClr>
    <a:custClr name="Lapis">
      <a:srgbClr val="6872B6"/>
    </a:custClr>
    <a:custClr name="Aquamarine">
      <a:srgbClr val="3C92B5"/>
    </a:custClr>
    <a:custClr name="Emerald">
      <a:srgbClr val="0A8F74"/>
    </a:custClr>
    <a:custClr name="White">
      <a:srgbClr val="FFFFFF"/>
    </a:custClr>
    <a:custClr name="Crystal">
      <a:srgbClr val="E0F1FF"/>
    </a:custClr>
    <a:custClr name="Border Gray">
      <a:srgbClr val="707996"/>
    </a:custClr>
    <a:custClr name="White">
      <a:srgbClr val="FFFFFF"/>
    </a:custClr>
    <a:custClr name="Warning Yellow">
      <a:srgbClr val="F5AB23"/>
    </a:custClr>
    <a:custClr name="Jade">
      <a:srgbClr val="589384"/>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uccess Green">
      <a:srgbClr val="00A76D"/>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Link Blue">
      <a:srgbClr val="006AC7"/>
    </a:custClr>
  </a:custClrLst>
  <a:extLst>
    <a:ext uri="{05A4C25C-085E-4340-85A3-A5531E510DB2}">
      <thm15:themeFamily xmlns:thm15="http://schemas.microsoft.com/office/thememl/2012/main" name="2026_Corporate_Template" id="{6178C3BC-7BF3-441C-A905-C2F60EC48173}" vid="{719AA06B-1CFC-43A5-9FD1-9CBDCAEC978F}"/>
    </a:ext>
  </a:extLst>
</a:theme>
</file>

<file path=ppt/theme/theme5.xml><?xml version="1.0" encoding="utf-8"?>
<a:theme xmlns:a="http://schemas.openxmlformats.org/drawingml/2006/main" name="1_Blue bkgrnd master">
  <a:themeElements>
    <a:clrScheme name="2026 Brand">
      <a:dk1>
        <a:srgbClr val="000000"/>
      </a:dk1>
      <a:lt1>
        <a:srgbClr val="FFFFFF"/>
      </a:lt1>
      <a:dk2>
        <a:srgbClr val="002869"/>
      </a:dk2>
      <a:lt2>
        <a:srgbClr val="FFFFFF"/>
      </a:lt2>
      <a:accent1>
        <a:srgbClr val="002869"/>
      </a:accent1>
      <a:accent2>
        <a:srgbClr val="0057AF"/>
      </a:accent2>
      <a:accent3>
        <a:srgbClr val="1F96FF"/>
      </a:accent3>
      <a:accent4>
        <a:srgbClr val="167ACB"/>
      </a:accent4>
      <a:accent5>
        <a:srgbClr val="4C8CD2"/>
      </a:accent5>
      <a:accent6>
        <a:srgbClr val="5A798C"/>
      </a:accent6>
      <a:hlink>
        <a:srgbClr val="006AC7"/>
      </a:hlink>
      <a:folHlink>
        <a:srgbClr val="003569"/>
      </a:folHlink>
    </a:clrScheme>
    <a:fontScheme name="Gartner Sans">
      <a:majorFont>
        <a:latin typeface="Gartner Sans Semibold"/>
        <a:ea typeface=""/>
        <a:cs typeface=""/>
      </a:majorFont>
      <a:minorFont>
        <a:latin typeface="Gartner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artner Blue">
      <a:srgbClr val="002869"/>
    </a:custClr>
    <a:custClr name="Cobalt">
      <a:srgbClr val="0057AF"/>
    </a:custClr>
    <a:custClr name="Opal">
      <a:srgbClr val="1F96FF"/>
    </a:custClr>
    <a:custClr name="Sapphire">
      <a:srgbClr val="167ACB"/>
    </a:custClr>
    <a:custClr name="Topaz">
      <a:srgbClr val="4C8CD2"/>
    </a:custClr>
    <a:custClr name="White">
      <a:srgbClr val="FFFFFF"/>
    </a:custClr>
    <a:custClr name="Moonstone">
      <a:srgbClr val="B8DEFF"/>
    </a:custClr>
    <a:custClr name="Sunstone">
      <a:srgbClr val="E36135"/>
    </a:custClr>
    <a:custClr name="Onyx">
      <a:srgbClr val="00002D"/>
    </a:custClr>
    <a:custClr name="Error Red">
      <a:srgbClr val="DE0A01"/>
    </a:custClr>
    <a:custClr name="Granite">
      <a:srgbClr val="5A798C"/>
    </a:custClr>
    <a:custClr name="Amethyst">
      <a:srgbClr val="9673BE"/>
    </a:custClr>
    <a:custClr name="Lapis">
      <a:srgbClr val="6872B6"/>
    </a:custClr>
    <a:custClr name="Aquamarine">
      <a:srgbClr val="3C92B5"/>
    </a:custClr>
    <a:custClr name="Emerald">
      <a:srgbClr val="0A8F74"/>
    </a:custClr>
    <a:custClr name="White">
      <a:srgbClr val="FFFFFF"/>
    </a:custClr>
    <a:custClr name="Crystal">
      <a:srgbClr val="E0F1FF"/>
    </a:custClr>
    <a:custClr name="Border Gray">
      <a:srgbClr val="707996"/>
    </a:custClr>
    <a:custClr name="White">
      <a:srgbClr val="FFFFFF"/>
    </a:custClr>
    <a:custClr name="Warning Yellow">
      <a:srgbClr val="F5AB23"/>
    </a:custClr>
    <a:custClr name="Jade">
      <a:srgbClr val="589384"/>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uccess Green">
      <a:srgbClr val="00A76D"/>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Link Blue">
      <a:srgbClr val="006AC7"/>
    </a:custClr>
  </a:custClrLst>
  <a:extLst>
    <a:ext uri="{05A4C25C-085E-4340-85A3-A5531E510DB2}">
      <thm15:themeFamily xmlns:thm15="http://schemas.microsoft.com/office/thememl/2012/main" name="2026_Corporate_Template.potx" id="{38F3A75B-F955-4835-AB9E-C03476FD501E}" vid="{23445A35-0F56-43F5-BB44-433EAE89F553}"/>
    </a:ext>
  </a:extLst>
</a:theme>
</file>

<file path=ppt/theme/theme6.xml><?xml version="1.0" encoding="utf-8"?>
<a:theme xmlns:a="http://schemas.openxmlformats.org/drawingml/2006/main" name="1_Crystal bkgrnd master">
  <a:themeElements>
    <a:clrScheme name="2026 Brand">
      <a:dk1>
        <a:srgbClr val="000000"/>
      </a:dk1>
      <a:lt1>
        <a:srgbClr val="FFFFFF"/>
      </a:lt1>
      <a:dk2>
        <a:srgbClr val="002869"/>
      </a:dk2>
      <a:lt2>
        <a:srgbClr val="FFFFFF"/>
      </a:lt2>
      <a:accent1>
        <a:srgbClr val="002869"/>
      </a:accent1>
      <a:accent2>
        <a:srgbClr val="0057AF"/>
      </a:accent2>
      <a:accent3>
        <a:srgbClr val="1F96FF"/>
      </a:accent3>
      <a:accent4>
        <a:srgbClr val="167ACB"/>
      </a:accent4>
      <a:accent5>
        <a:srgbClr val="4C8CD2"/>
      </a:accent5>
      <a:accent6>
        <a:srgbClr val="5A798C"/>
      </a:accent6>
      <a:hlink>
        <a:srgbClr val="006AC7"/>
      </a:hlink>
      <a:folHlink>
        <a:srgbClr val="003569"/>
      </a:folHlink>
    </a:clrScheme>
    <a:fontScheme name="Gartner Sans">
      <a:majorFont>
        <a:latin typeface="Gartner Sans Semibold"/>
        <a:ea typeface=""/>
        <a:cs typeface=""/>
      </a:majorFont>
      <a:minorFont>
        <a:latin typeface="Gartner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artner Blue">
      <a:srgbClr val="002869"/>
    </a:custClr>
    <a:custClr name="Cobalt">
      <a:srgbClr val="0057AF"/>
    </a:custClr>
    <a:custClr name="Opal">
      <a:srgbClr val="1F96FF"/>
    </a:custClr>
    <a:custClr name="Sapphire">
      <a:srgbClr val="167ACB"/>
    </a:custClr>
    <a:custClr name="Topaz">
      <a:srgbClr val="4C8CD2"/>
    </a:custClr>
    <a:custClr name="White">
      <a:srgbClr val="FFFFFF"/>
    </a:custClr>
    <a:custClr name="Moonstone">
      <a:srgbClr val="B8DEFF"/>
    </a:custClr>
    <a:custClr name="Sunstone">
      <a:srgbClr val="E36135"/>
    </a:custClr>
    <a:custClr name="Onyx">
      <a:srgbClr val="00002D"/>
    </a:custClr>
    <a:custClr name="Error Red">
      <a:srgbClr val="DE0A01"/>
    </a:custClr>
    <a:custClr name="Granite">
      <a:srgbClr val="5A798C"/>
    </a:custClr>
    <a:custClr name="Amethyst">
      <a:srgbClr val="9673BE"/>
    </a:custClr>
    <a:custClr name="Lapis">
      <a:srgbClr val="6872B6"/>
    </a:custClr>
    <a:custClr name="Aquamarine">
      <a:srgbClr val="3C92B5"/>
    </a:custClr>
    <a:custClr name="Emerald">
      <a:srgbClr val="0A8F74"/>
    </a:custClr>
    <a:custClr name="White">
      <a:srgbClr val="FFFFFF"/>
    </a:custClr>
    <a:custClr name="Crystal">
      <a:srgbClr val="E0F1FF"/>
    </a:custClr>
    <a:custClr name="Border Gray">
      <a:srgbClr val="707996"/>
    </a:custClr>
    <a:custClr name="White">
      <a:srgbClr val="FFFFFF"/>
    </a:custClr>
    <a:custClr name="Warning Yellow">
      <a:srgbClr val="F5AB23"/>
    </a:custClr>
    <a:custClr name="Jade">
      <a:srgbClr val="589384"/>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uccess Green">
      <a:srgbClr val="00A76D"/>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Link Blue">
      <a:srgbClr val="006AC7"/>
    </a:custClr>
  </a:custClrLst>
  <a:extLst>
    <a:ext uri="{05A4C25C-085E-4340-85A3-A5531E510DB2}">
      <thm15:themeFamily xmlns:thm15="http://schemas.microsoft.com/office/thememl/2012/main" name="2026_Corporate_Template.potx" id="{38F3A75B-F955-4835-AB9E-C03476FD501E}" vid="{CFAB3FAC-95AF-486F-BB77-AC0476B45847}"/>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2026_Corporate_Template</Template>
  <TotalTime>153</TotalTime>
  <Words>1052</Words>
  <Application>Microsoft Macintosh PowerPoint</Application>
  <PresentationFormat>Widescreen</PresentationFormat>
  <Paragraphs>148</Paragraphs>
  <Slides>8</Slides>
  <Notes>5</Notes>
  <HiddenSlides>0</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8</vt:i4>
      </vt:variant>
    </vt:vector>
  </HeadingPairs>
  <TitlesOfParts>
    <vt:vector size="21" baseType="lpstr">
      <vt:lpstr>Lucida Sans Unicode</vt:lpstr>
      <vt:lpstr>Arial</vt:lpstr>
      <vt:lpstr>Gartner Sans</vt:lpstr>
      <vt:lpstr>Aptos</vt:lpstr>
      <vt:lpstr>Times New Roman</vt:lpstr>
      <vt:lpstr>Gartner Sans Semibold</vt:lpstr>
      <vt:lpstr>2026_Corporate_Template</vt:lpstr>
      <vt:lpstr>Blue bkgrnd master</vt:lpstr>
      <vt:lpstr>Crystal bkgrnd master</vt:lpstr>
      <vt:lpstr>1_2026_Corporate_Template</vt:lpstr>
      <vt:lpstr>1_Blue bkgrnd master</vt:lpstr>
      <vt:lpstr>1_Crystal bkgrnd master</vt:lpstr>
      <vt:lpstr>think-cell Slide</vt:lpstr>
      <vt:lpstr>Identify Goals and KPIs for Culture Measurement</vt:lpstr>
      <vt:lpstr>PowerPoint Presentation</vt:lpstr>
      <vt:lpstr>1. Review and select high-level culture KPIs</vt:lpstr>
      <vt:lpstr>2. Create culture change statements</vt:lpstr>
      <vt:lpstr>3. Identify success measures for each culture change statement</vt:lpstr>
      <vt:lpstr>4. Capture culture measurement goals</vt:lpstr>
      <vt:lpstr>Actionable, objective insigh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aitlin Husband</dc:creator>
  <cp:lastModifiedBy>Kaitlin Husband</cp:lastModifiedBy>
  <cp:revision>10</cp:revision>
  <dcterms:created xsi:type="dcterms:W3CDTF">2026-04-17T20:49:59Z</dcterms:created>
  <dcterms:modified xsi:type="dcterms:W3CDTF">2026-04-28T17:52:21Z</dcterms:modified>
</cp:coreProperties>
</file>